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8" r:id="rId2"/>
    <p:sldId id="266" r:id="rId3"/>
    <p:sldId id="268" r:id="rId4"/>
    <p:sldId id="269" r:id="rId5"/>
    <p:sldId id="273" r:id="rId6"/>
    <p:sldId id="272" r:id="rId7"/>
    <p:sldId id="274" r:id="rId8"/>
    <p:sldId id="276" r:id="rId9"/>
    <p:sldId id="278" r:id="rId10"/>
    <p:sldId id="285" r:id="rId11"/>
    <p:sldId id="279" r:id="rId12"/>
    <p:sldId id="280" r:id="rId13"/>
    <p:sldId id="281" r:id="rId14"/>
    <p:sldId id="282" r:id="rId15"/>
    <p:sldId id="283" r:id="rId16"/>
    <p:sldId id="284" r:id="rId17"/>
    <p:sldId id="271" r:id="rId18"/>
    <p:sldId id="286" r:id="rId19"/>
  </p:sldIdLst>
  <p:sldSz cx="9144000" cy="6858000" type="screen4x3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 autoAdjust="0"/>
    <p:restoredTop sz="87244" autoAdjust="0"/>
  </p:normalViewPr>
  <p:slideViewPr>
    <p:cSldViewPr snapToGrid="0" showGuides="1">
      <p:cViewPr varScale="1">
        <p:scale>
          <a:sx n="73" d="100"/>
          <a:sy n="73" d="100"/>
        </p:scale>
        <p:origin x="-998" y="-77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outlineViewPr>
    <p:cViewPr>
      <p:scale>
        <a:sx n="33" d="100"/>
        <a:sy n="33" d="100"/>
      </p:scale>
      <p:origin x="0" y="1829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23/09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EF168-5775-4691-ABC9-27DCB73FB31A}" type="datetimeFigureOut">
              <a:rPr lang="en-US" smtClean="0"/>
              <a:t>9/2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E84D02-DDA4-4A71-B263-1F5F00A656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493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5279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All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mentioned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cepts</a:t>
            </a:r>
            <a:r>
              <a:rPr lang="sv-SE" baseline="0" dirty="0" smtClean="0"/>
              <a:t> like variants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different assets, </a:t>
            </a:r>
            <a:r>
              <a:rPr lang="sv-SE" baseline="0" dirty="0" err="1" smtClean="0"/>
              <a:t>their</a:t>
            </a:r>
            <a:r>
              <a:rPr lang="sv-SE" baseline="0" dirty="0" smtClean="0"/>
              <a:t> versions, </a:t>
            </a:r>
            <a:r>
              <a:rPr lang="sv-SE" baseline="0" dirty="0" err="1" smtClean="0"/>
              <a:t>prese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itions</a:t>
            </a:r>
            <a:r>
              <a:rPr lang="sv-SE" baseline="0" dirty="0" smtClean="0"/>
              <a:t> in different forms </a:t>
            </a:r>
            <a:r>
              <a:rPr lang="sv-SE" baseline="0" dirty="0" err="1" smtClean="0"/>
              <a:t>can</a:t>
            </a:r>
            <a:r>
              <a:rPr lang="sv-SE" baseline="0" dirty="0" smtClean="0"/>
              <a:t> be expressed in the MLT </a:t>
            </a:r>
            <a:r>
              <a:rPr lang="sv-SE" baseline="0" dirty="0" err="1" smtClean="0"/>
              <a:t>model</a:t>
            </a:r>
            <a:r>
              <a:rPr lang="sv-SE" baseline="0" dirty="0" smtClean="0"/>
              <a:t>. Fit </a:t>
            </a:r>
            <a:r>
              <a:rPr lang="sv-SE" baseline="0" dirty="0" err="1" smtClean="0"/>
              <a:t>structuring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</a:t>
            </a:r>
            <a:r>
              <a:rPr lang="sv-SE" baseline="0" dirty="0" err="1" smtClean="0"/>
              <a:t>prese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ition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e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omehow</a:t>
            </a:r>
            <a:r>
              <a:rPr lang="sv-S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5312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In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revers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engineering</a:t>
            </a:r>
            <a:r>
              <a:rPr lang="sv-SE" baseline="0" dirty="0" smtClean="0"/>
              <a:t> research, </a:t>
            </a:r>
            <a:r>
              <a:rPr lang="sv-SE" baseline="0" dirty="0" err="1" smtClean="0"/>
              <a:t>one</a:t>
            </a:r>
            <a:r>
              <a:rPr lang="sv-SE" baseline="0" dirty="0" smtClean="0"/>
              <a:t> strats </a:t>
            </a:r>
            <a:r>
              <a:rPr lang="sv-SE" baseline="0" dirty="0" err="1" smtClean="0"/>
              <a:t>with</a:t>
            </a:r>
            <a:r>
              <a:rPr lang="sv-SE" baseline="0" dirty="0" smtClean="0"/>
              <a:t> the assets or </a:t>
            </a:r>
            <a:r>
              <a:rPr lang="sv-SE" baseline="0" dirty="0" err="1" smtClean="0"/>
              <a:t>product</a:t>
            </a:r>
            <a:r>
              <a:rPr lang="sv-SE" baseline="0" dirty="0" smtClean="0"/>
              <a:t> variants, </a:t>
            </a:r>
            <a:r>
              <a:rPr lang="sv-SE" baseline="0" dirty="0" err="1" smtClean="0"/>
              <a:t>applies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extractio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lgorithm</a:t>
            </a:r>
            <a:r>
              <a:rPr lang="sv-SE" baseline="0" dirty="0" smtClean="0"/>
              <a:t> and on the </a:t>
            </a:r>
            <a:r>
              <a:rPr lang="sv-SE" baseline="0" dirty="0" err="1" smtClean="0"/>
              <a:t>other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id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get </a:t>
            </a:r>
            <a:r>
              <a:rPr lang="sv-SE" baseline="0" dirty="0" err="1" smtClean="0"/>
              <a:t>either</a:t>
            </a:r>
            <a:r>
              <a:rPr lang="sv-SE" baseline="0" dirty="0" smtClean="0"/>
              <a:t> explicit features or </a:t>
            </a:r>
            <a:r>
              <a:rPr lang="sv-SE" baseline="0" dirty="0" err="1" smtClean="0"/>
              <a:t>exlplicit</a:t>
            </a:r>
            <a:r>
              <a:rPr lang="sv-SE" baseline="0" dirty="0" smtClean="0"/>
              <a:t> feature-asset </a:t>
            </a:r>
            <a:r>
              <a:rPr lang="sv-SE" baseline="0" dirty="0" err="1" smtClean="0"/>
              <a:t>dependencies</a:t>
            </a:r>
            <a:r>
              <a:rPr lang="sv-SE" baseline="0" dirty="0" smtClean="0"/>
              <a:t> or an annotated </a:t>
            </a:r>
            <a:r>
              <a:rPr lang="sv-SE" baseline="0" dirty="0" err="1" smtClean="0"/>
              <a:t>family</a:t>
            </a:r>
            <a:r>
              <a:rPr lang="sv-SE" baseline="0" dirty="0" smtClean="0"/>
              <a:t> </a:t>
            </a:r>
            <a:r>
              <a:rPr lang="sv-SE" baseline="0" dirty="0" err="1" smtClean="0"/>
              <a:t>model</a:t>
            </a:r>
            <a:r>
              <a:rPr lang="sv-S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428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sv-SE" dirty="0" smtClean="0"/>
              <a:t>If </a:t>
            </a:r>
            <a:r>
              <a:rPr lang="sv-SE" dirty="0" err="1" smtClean="0"/>
              <a:t>you</a:t>
            </a:r>
            <a:r>
              <a:rPr lang="sv-SE" dirty="0" smtClean="0"/>
              <a:t> push </a:t>
            </a:r>
            <a:r>
              <a:rPr lang="sv-SE" dirty="0" err="1" smtClean="0"/>
              <a:t>this</a:t>
            </a:r>
            <a:r>
              <a:rPr lang="sv-SE" dirty="0" smtClean="0"/>
              <a:t> </a:t>
            </a:r>
            <a:r>
              <a:rPr lang="sv-SE" dirty="0" err="1" smtClean="0"/>
              <a:t>up</a:t>
            </a:r>
            <a:r>
              <a:rPr lang="sv-SE" dirty="0" smtClean="0"/>
              <a:t>, </a:t>
            </a:r>
            <a:r>
              <a:rPr lang="sv-SE" dirty="0" err="1" smtClean="0"/>
              <a:t>you</a:t>
            </a:r>
            <a:r>
              <a:rPr lang="sv-SE" dirty="0" smtClean="0"/>
              <a:t> </a:t>
            </a:r>
            <a:r>
              <a:rPr lang="sv-SE" dirty="0" err="1" smtClean="0"/>
              <a:t>have</a:t>
            </a:r>
            <a:r>
              <a:rPr lang="sv-SE" dirty="0" smtClean="0"/>
              <a:t> </a:t>
            </a:r>
            <a:r>
              <a:rPr lang="sv-SE" dirty="0" err="1" smtClean="0"/>
              <a:t>entered</a:t>
            </a:r>
            <a:r>
              <a:rPr lang="sv-SE" dirty="0" smtClean="0"/>
              <a:t> </a:t>
            </a:r>
            <a:r>
              <a:rPr lang="sv-SE" dirty="0" err="1" smtClean="0"/>
              <a:t>language</a:t>
            </a:r>
            <a:r>
              <a:rPr lang="sv-SE" dirty="0" smtClean="0"/>
              <a:t> </a:t>
            </a:r>
            <a:r>
              <a:rPr lang="sv-SE" dirty="0" err="1" smtClean="0"/>
              <a:t>engineering</a:t>
            </a:r>
            <a:r>
              <a:rPr lang="sv-SE" dirty="0" smtClean="0"/>
              <a:t> </a:t>
            </a:r>
            <a:r>
              <a:rPr lang="sv-SE" dirty="0" err="1" smtClean="0"/>
              <a:t>but</a:t>
            </a:r>
            <a:r>
              <a:rPr lang="sv-SE" dirty="0" smtClean="0"/>
              <a:t> </a:t>
            </a:r>
            <a:r>
              <a:rPr lang="sv-SE" dirty="0" err="1" smtClean="0"/>
              <a:t>you</a:t>
            </a:r>
            <a:r>
              <a:rPr lang="sv-SE" dirty="0" smtClean="0"/>
              <a:t> </a:t>
            </a:r>
            <a:r>
              <a:rPr lang="sv-SE" dirty="0" err="1" smtClean="0"/>
              <a:t>want</a:t>
            </a:r>
            <a:r>
              <a:rPr lang="sv-SE" baseline="0" dirty="0" smtClean="0"/>
              <a:t> is </a:t>
            </a:r>
            <a:r>
              <a:rPr lang="sv-SE" baseline="0" dirty="0" err="1" smtClean="0"/>
              <a:t>only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o</a:t>
            </a:r>
            <a:r>
              <a:rPr lang="sv-SE" baseline="0" dirty="0" smtClean="0"/>
              <a:t> express </a:t>
            </a:r>
            <a:r>
              <a:rPr lang="sv-SE" baseline="0" dirty="0" err="1" smtClean="0"/>
              <a:t>your</a:t>
            </a:r>
            <a:r>
              <a:rPr lang="sv-SE" baseline="0" dirty="0" smtClean="0"/>
              <a:t> data</a:t>
            </a:r>
          </a:p>
          <a:p>
            <a:pPr marL="228600" indent="-228600">
              <a:buAutoNum type="arabicPeriod"/>
            </a:pPr>
            <a:r>
              <a:rPr lang="sv-SE" baseline="0" dirty="0" smtClean="0"/>
              <a:t>Truc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191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 smtClean="0"/>
              <a:t>There</a:t>
            </a:r>
            <a:r>
              <a:rPr lang="sv-SE" dirty="0" smtClean="0"/>
              <a:t> is an </a:t>
            </a:r>
            <a:r>
              <a:rPr lang="sv-SE" dirty="0" err="1" smtClean="0"/>
              <a:t>emerging</a:t>
            </a:r>
            <a:r>
              <a:rPr lang="sv-SE" baseline="0" dirty="0" smtClean="0"/>
              <a:t> area </a:t>
            </a:r>
            <a:r>
              <a:rPr lang="sv-SE" baseline="0" dirty="0" err="1" smtClean="0"/>
              <a:t>called</a:t>
            </a:r>
            <a:r>
              <a:rPr lang="sv-SE" baseline="0" dirty="0" smtClean="0"/>
              <a:t> Multi </a:t>
            </a:r>
            <a:r>
              <a:rPr lang="sv-SE" baseline="0" dirty="0" err="1" smtClean="0"/>
              <a:t>Level</a:t>
            </a:r>
            <a:r>
              <a:rPr lang="sv-SE" baseline="0" dirty="0" smtClean="0"/>
              <a:t> </a:t>
            </a:r>
            <a:r>
              <a:rPr lang="sv-SE" baseline="0" dirty="0" err="1" smtClean="0"/>
              <a:t>Modeling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reat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i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issue</a:t>
            </a:r>
            <a:r>
              <a:rPr lang="sv-SE" baseline="0" dirty="0" smtClean="0"/>
              <a:t>. I </a:t>
            </a:r>
            <a:r>
              <a:rPr lang="sv-SE" baseline="0" dirty="0" err="1" smtClean="0"/>
              <a:t>cam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e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irectly</a:t>
            </a:r>
            <a:r>
              <a:rPr lang="sv-SE" baseline="0" dirty="0" smtClean="0"/>
              <a:t> from Texas </a:t>
            </a:r>
            <a:r>
              <a:rPr lang="sv-SE" baseline="0" dirty="0" err="1" smtClean="0"/>
              <a:t>where</a:t>
            </a:r>
            <a:r>
              <a:rPr lang="sv-SE" baseline="0" dirty="0" smtClean="0"/>
              <a:t> I </a:t>
            </a:r>
            <a:r>
              <a:rPr lang="sv-SE" baseline="0" dirty="0" err="1" smtClean="0"/>
              <a:t>gave</a:t>
            </a:r>
            <a:r>
              <a:rPr lang="sv-SE" baseline="0" dirty="0" smtClean="0"/>
              <a:t> a talk at a </a:t>
            </a:r>
            <a:r>
              <a:rPr lang="sv-SE" baseline="0" dirty="0" err="1" smtClean="0"/>
              <a:t>Models</a:t>
            </a:r>
            <a:r>
              <a:rPr lang="sv-SE" baseline="0" dirty="0" smtClean="0"/>
              <a:t> workshop on MLM and </a:t>
            </a:r>
            <a:r>
              <a:rPr lang="sv-SE" baseline="0" dirty="0" err="1" smtClean="0"/>
              <a:t>it’s</a:t>
            </a:r>
            <a:r>
              <a:rPr lang="sv-SE" baseline="0" dirty="0" smtClean="0"/>
              <a:t> a </a:t>
            </a:r>
            <a:r>
              <a:rPr lang="sv-SE" baseline="0" dirty="0" err="1" smtClean="0"/>
              <a:t>growing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munity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now</a:t>
            </a:r>
            <a:r>
              <a:rPr lang="sv-SE" baseline="0" dirty="0" smtClean="0"/>
              <a:t> entering a </a:t>
            </a:r>
            <a:r>
              <a:rPr lang="sv-SE" baseline="0" dirty="0" err="1" smtClean="0"/>
              <a:t>standardizatio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phase</a:t>
            </a:r>
            <a:r>
              <a:rPr lang="sv-SE" baseline="0" dirty="0" smtClean="0"/>
              <a:t> and </a:t>
            </a:r>
            <a:r>
              <a:rPr lang="sv-SE" baseline="0" dirty="0" err="1" smtClean="0"/>
              <a:t>trie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o</a:t>
            </a:r>
            <a:r>
              <a:rPr lang="sv-SE" baseline="0" dirty="0" smtClean="0"/>
              <a:t> offer the best MLM. The </a:t>
            </a:r>
            <a:r>
              <a:rPr lang="sv-SE" baseline="0" dirty="0" err="1" smtClean="0"/>
              <a:t>particular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n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I’m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howing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ere</a:t>
            </a:r>
            <a:r>
              <a:rPr lang="sv-SE" baseline="0" dirty="0" smtClean="0"/>
              <a:t> is Multi </a:t>
            </a:r>
            <a:r>
              <a:rPr lang="sv-SE" baseline="0" dirty="0" err="1" smtClean="0"/>
              <a:t>level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ceptual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eory</a:t>
            </a:r>
            <a:r>
              <a:rPr lang="sv-SE" baseline="0" dirty="0" smtClean="0"/>
              <a:t>.</a:t>
            </a:r>
          </a:p>
          <a:p>
            <a:endParaRPr lang="sv-SE" baseline="0" dirty="0" smtClean="0"/>
          </a:p>
          <a:p>
            <a:r>
              <a:rPr lang="sv-SE" baseline="0" dirty="0" smtClean="0"/>
              <a:t>Classes and </a:t>
            </a:r>
            <a:r>
              <a:rPr lang="sv-SE" baseline="0" dirty="0" err="1" smtClean="0"/>
              <a:t>individual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a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ttributes</a:t>
            </a:r>
            <a:r>
              <a:rPr lang="sv-SE" baseline="0" dirty="0" smtClean="0"/>
              <a:t> and </a:t>
            </a:r>
            <a:r>
              <a:rPr lang="sv-SE" baseline="0" dirty="0" err="1" smtClean="0"/>
              <a:t>thes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a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ardinalities</a:t>
            </a:r>
            <a:r>
              <a:rPr lang="sv-SE" baseline="0" dirty="0" smtClean="0"/>
              <a:t>.</a:t>
            </a:r>
          </a:p>
          <a:p>
            <a:endParaRPr lang="sv-SE" baseline="0" dirty="0" smtClean="0"/>
          </a:p>
          <a:p>
            <a:r>
              <a:rPr lang="sv-SE" baseline="0" dirty="0" smtClean="0"/>
              <a:t>Main </a:t>
            </a:r>
            <a:r>
              <a:rPr lang="sv-SE" baseline="0" dirty="0" err="1" smtClean="0"/>
              <a:t>advantag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MLM is </a:t>
            </a:r>
            <a:r>
              <a:rPr lang="sv-SE" baseline="0" dirty="0" err="1" smtClean="0"/>
              <a:t>correc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emnatics</a:t>
            </a:r>
            <a:r>
              <a:rPr lang="sv-SE" baseline="0" dirty="0" smtClean="0"/>
              <a:t> and </a:t>
            </a:r>
            <a:r>
              <a:rPr lang="sv-SE" baseline="0" dirty="0" err="1" smtClean="0"/>
              <a:t>resilie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o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hange</a:t>
            </a:r>
            <a:r>
              <a:rPr lang="sv-SE" baseline="0" dirty="0" smtClean="0"/>
              <a:t>, in </a:t>
            </a:r>
            <a:r>
              <a:rPr lang="sv-SE" baseline="0" dirty="0" err="1" smtClean="0"/>
              <a:t>other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ord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igher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bstractio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level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table</a:t>
            </a:r>
            <a:r>
              <a:rPr lang="sv-S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832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 smtClean="0"/>
              <a:t>Instantiation</a:t>
            </a:r>
            <a:r>
              <a:rPr lang="sv-SE" dirty="0" smtClean="0"/>
              <a:t> and </a:t>
            </a:r>
            <a:r>
              <a:rPr lang="sv-SE" dirty="0" err="1" smtClean="0"/>
              <a:t>specialization</a:t>
            </a:r>
            <a:r>
              <a:rPr lang="sv-SE" dirty="0" smtClean="0"/>
              <a:t> </a:t>
            </a:r>
            <a:r>
              <a:rPr lang="sv-SE" dirty="0" err="1" smtClean="0"/>
              <a:t>are</a:t>
            </a:r>
            <a:r>
              <a:rPr lang="sv-SE" dirty="0" smtClean="0"/>
              <a:t> mixed </a:t>
            </a:r>
            <a:r>
              <a:rPr lang="sv-SE" dirty="0" err="1" smtClean="0"/>
              <a:t>gere</a:t>
            </a:r>
            <a:r>
              <a:rPr lang="sv-SE" dirty="0" smtClean="0"/>
              <a:t> </a:t>
            </a:r>
            <a:r>
              <a:rPr lang="sv-SE" dirty="0" err="1" smtClean="0"/>
              <a:t>explicitly</a:t>
            </a:r>
            <a:endParaRPr lang="sv-SE" dirty="0" smtClean="0"/>
          </a:p>
          <a:p>
            <a:r>
              <a:rPr lang="sv-SE" dirty="0" smtClean="0"/>
              <a:t>On </a:t>
            </a:r>
            <a:r>
              <a:rPr lang="sv-SE" dirty="0" err="1" smtClean="0"/>
              <a:t>top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tructural</a:t>
            </a:r>
            <a:r>
              <a:rPr lang="sv-SE" dirty="0" smtClean="0"/>
              <a:t> relations MLT </a:t>
            </a:r>
            <a:r>
              <a:rPr lang="sv-SE" dirty="0" err="1" smtClean="0"/>
              <a:t>also</a:t>
            </a:r>
            <a:r>
              <a:rPr lang="sv-SE" dirty="0" smtClean="0"/>
              <a:t> </a:t>
            </a:r>
            <a:r>
              <a:rPr lang="sv-SE" dirty="0" err="1" smtClean="0"/>
              <a:t>allow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introducing</a:t>
            </a:r>
            <a:r>
              <a:rPr lang="sv-SE" baseline="0" dirty="0" smtClean="0"/>
              <a:t> different </a:t>
            </a:r>
            <a:r>
              <a:rPr lang="sv-SE" baseline="0" dirty="0" err="1" smtClean="0"/>
              <a:t>basic</a:t>
            </a:r>
            <a:r>
              <a:rPr lang="sv-SE" baseline="0" dirty="0" smtClean="0"/>
              <a:t> relations, </a:t>
            </a:r>
            <a:r>
              <a:rPr lang="sv-SE" baseline="0" dirty="0" err="1" smtClean="0"/>
              <a:t>e.g</a:t>
            </a:r>
            <a:r>
              <a:rPr lang="sv-SE" baseline="0" dirty="0" smtClean="0"/>
              <a:t>. </a:t>
            </a:r>
            <a:r>
              <a:rPr lang="sv-SE" baseline="0" dirty="0" err="1" smtClean="0"/>
              <a:t>hasPart</a:t>
            </a:r>
            <a:r>
              <a:rPr lang="sv-SE" baseline="0" dirty="0" smtClean="0"/>
              <a:t> and it </a:t>
            </a:r>
            <a:r>
              <a:rPr lang="sv-SE" baseline="0" dirty="0" err="1" smtClean="0"/>
              <a:t>allow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efining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ardinalitie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ese</a:t>
            </a:r>
            <a:r>
              <a:rPr lang="sv-SE" baseline="0" dirty="0" smtClean="0"/>
              <a:t> relations </a:t>
            </a:r>
            <a:r>
              <a:rPr lang="sv-SE" baseline="0" dirty="0" err="1" smtClean="0"/>
              <a:t>similar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o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ttributes</a:t>
            </a:r>
            <a:r>
              <a:rPr lang="sv-SE" baseline="0" dirty="0" smtClean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7168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aseline="0" dirty="0" smtClean="0"/>
              <a:t>Off </a:t>
            </a:r>
            <a:r>
              <a:rPr lang="sv-SE" baseline="0" dirty="0" err="1" smtClean="0"/>
              <a:t>course</a:t>
            </a:r>
            <a:r>
              <a:rPr lang="sv-SE" baseline="0" dirty="0" smtClean="0"/>
              <a:t>, just as </a:t>
            </a:r>
            <a:r>
              <a:rPr lang="sv-SE" baseline="0" dirty="0" err="1" smtClean="0"/>
              <a:t>the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re</a:t>
            </a:r>
            <a:r>
              <a:rPr lang="sv-SE" baseline="0" dirty="0" smtClean="0"/>
              <a:t> alternatives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features, </a:t>
            </a:r>
            <a:r>
              <a:rPr lang="sv-SE" baseline="0" dirty="0" err="1" smtClean="0"/>
              <a:t>the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re</a:t>
            </a:r>
            <a:r>
              <a:rPr lang="sv-SE" baseline="0" dirty="0" smtClean="0"/>
              <a:t> alternatives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parts in the </a:t>
            </a:r>
            <a:r>
              <a:rPr lang="sv-SE" baseline="0" dirty="0" err="1" smtClean="0"/>
              <a:t>family</a:t>
            </a:r>
            <a:r>
              <a:rPr lang="sv-SE" baseline="0" dirty="0" smtClean="0"/>
              <a:t> </a:t>
            </a:r>
            <a:r>
              <a:rPr lang="sv-SE" baseline="0" dirty="0" err="1" smtClean="0"/>
              <a:t>models</a:t>
            </a:r>
            <a:r>
              <a:rPr lang="sv-SE" baseline="0" dirty="0" smtClean="0"/>
              <a:t>. So </a:t>
            </a:r>
            <a:r>
              <a:rPr lang="sv-SE" baseline="0" dirty="0" err="1" smtClean="0"/>
              <a:t>if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start </a:t>
            </a:r>
            <a:r>
              <a:rPr lang="sv-SE" baseline="0" dirty="0" err="1" smtClean="0"/>
              <a:t>adding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em</a:t>
            </a:r>
            <a:r>
              <a:rPr lang="sv-SE" baseline="0" dirty="0" smtClean="0"/>
              <a:t> the situation </a:t>
            </a:r>
            <a:r>
              <a:rPr lang="sv-SE" baseline="0" dirty="0" err="1" smtClean="0"/>
              <a:t>become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mo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mplicated</a:t>
            </a:r>
            <a:r>
              <a:rPr lang="sv-SE" baseline="0" dirty="0" smtClean="0"/>
              <a:t> </a:t>
            </a:r>
            <a:r>
              <a:rPr lang="sv-SE" baseline="0" dirty="0" err="1" smtClean="0"/>
              <a:t>becaus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need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o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ecla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hich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mponent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an</a:t>
            </a:r>
            <a:r>
              <a:rPr lang="sv-SE" baseline="0" dirty="0" smtClean="0"/>
              <a:t> a </a:t>
            </a:r>
            <a:r>
              <a:rPr lang="sv-SE" baseline="0" dirty="0" err="1" smtClean="0"/>
              <a:t>produc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(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need</a:t>
            </a:r>
            <a:r>
              <a:rPr lang="sv-SE" baseline="0" dirty="0" smtClean="0"/>
              <a:t> a relation) and under </a:t>
            </a:r>
            <a:r>
              <a:rPr lang="sv-SE" baseline="0" dirty="0" err="1" smtClean="0"/>
              <a:t>which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itio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oes</a:t>
            </a:r>
            <a:r>
              <a:rPr lang="sv-SE" baseline="0" dirty="0" smtClean="0"/>
              <a:t> the relation </a:t>
            </a:r>
            <a:r>
              <a:rPr lang="sv-SE" baseline="0" dirty="0" err="1" smtClean="0"/>
              <a:t>hold</a:t>
            </a:r>
            <a:r>
              <a:rPr lang="sv-SE" baseline="0" dirty="0" smtClean="0"/>
              <a:t> (</a:t>
            </a:r>
            <a:r>
              <a:rPr lang="sv-SE" baseline="0" dirty="0" err="1" smtClean="0"/>
              <a:t>prese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ition</a:t>
            </a:r>
            <a:r>
              <a:rPr lang="sv-SE" baseline="0" dirty="0" smtClean="0"/>
              <a:t>).</a:t>
            </a:r>
          </a:p>
          <a:p>
            <a:endParaRPr lang="sv-SE" baseline="0" dirty="0" smtClean="0"/>
          </a:p>
          <a:p>
            <a:r>
              <a:rPr lang="sv-SE" baseline="0" dirty="0" smtClean="0"/>
              <a:t>And in MLT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nly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lasses</a:t>
            </a:r>
            <a:r>
              <a:rPr lang="sv-SE" baseline="0" dirty="0" smtClean="0"/>
              <a:t> and relations, so </a:t>
            </a:r>
            <a:r>
              <a:rPr lang="sv-SE" baseline="0" dirty="0" err="1" smtClean="0"/>
              <a:t>how</a:t>
            </a:r>
            <a:r>
              <a:rPr lang="sv-SE" baseline="0" dirty="0" smtClean="0"/>
              <a:t> do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interpret the </a:t>
            </a:r>
            <a:r>
              <a:rPr lang="sv-SE" baseline="0" dirty="0" err="1" smtClean="0"/>
              <a:t>prese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itions</a:t>
            </a:r>
            <a:r>
              <a:rPr lang="sv-SE" baseline="0" dirty="0" smtClean="0"/>
              <a:t> in terms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ese</a:t>
            </a:r>
            <a:r>
              <a:rPr lang="sv-SE" baseline="0" dirty="0" smtClean="0"/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8384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aseline="0" dirty="0" err="1" smtClean="0"/>
              <a:t>We</a:t>
            </a:r>
            <a:r>
              <a:rPr lang="sv-SE" baseline="0" dirty="0" smtClean="0"/>
              <a:t> call </a:t>
            </a:r>
            <a:r>
              <a:rPr lang="sv-SE" baseline="0" dirty="0" err="1" smtClean="0"/>
              <a:t>these</a:t>
            </a:r>
            <a:r>
              <a:rPr lang="sv-SE" baseline="0" dirty="0" smtClean="0"/>
              <a:t> relations </a:t>
            </a:r>
            <a:r>
              <a:rPr lang="sv-SE" baseline="0" dirty="0" err="1" smtClean="0"/>
              <a:t>produc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figuratio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pecific</a:t>
            </a:r>
            <a:r>
              <a:rPr lang="sv-SE" baseline="0" dirty="0" smtClean="0"/>
              <a:t> relations and </a:t>
            </a:r>
            <a:r>
              <a:rPr lang="sv-SE" baseline="0" dirty="0" err="1" smtClean="0"/>
              <a:t>these</a:t>
            </a:r>
            <a:r>
              <a:rPr lang="sv-SE" baseline="0" dirty="0" smtClean="0"/>
              <a:t> relations </a:t>
            </a:r>
            <a:r>
              <a:rPr lang="sv-SE" baseline="0" dirty="0" err="1" smtClean="0"/>
              <a:t>imply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an</a:t>
            </a:r>
            <a:r>
              <a:rPr lang="sv-SE" baseline="0" dirty="0" smtClean="0"/>
              <a:t> split the </a:t>
            </a:r>
            <a:r>
              <a:rPr lang="sv-SE" baseline="0" dirty="0" err="1" smtClean="0"/>
              <a:t>th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lass</a:t>
            </a:r>
            <a:r>
              <a:rPr lang="sv-SE" baseline="0" dirty="0" smtClean="0"/>
              <a:t> Truck (in </a:t>
            </a:r>
            <a:r>
              <a:rPr lang="sv-SE" baseline="0" dirty="0" err="1" smtClean="0"/>
              <a:t>thi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ase</a:t>
            </a:r>
            <a:r>
              <a:rPr lang="sv-SE" baseline="0" dirty="0" smtClean="0"/>
              <a:t>) and </a:t>
            </a:r>
            <a:r>
              <a:rPr lang="sv-SE" baseline="0" dirty="0" err="1" smtClean="0"/>
              <a:t>characteriz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es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wo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lasses</a:t>
            </a:r>
            <a:r>
              <a:rPr lang="sv-SE" baseline="0" dirty="0" smtClean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8384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aseline="0" dirty="0" err="1" smtClean="0"/>
              <a:t>Prroduc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pecific</a:t>
            </a:r>
            <a:r>
              <a:rPr lang="sv-SE" baseline="0" dirty="0" smtClean="0"/>
              <a:t> relations </a:t>
            </a:r>
            <a:r>
              <a:rPr lang="sv-SE" baseline="0" dirty="0" err="1" smtClean="0"/>
              <a:t>imply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las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is the source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a PCS </a:t>
            </a:r>
            <a:r>
              <a:rPr lang="sv-SE" baseline="0" dirty="0" err="1" smtClean="0"/>
              <a:t>can</a:t>
            </a:r>
            <a:r>
              <a:rPr lang="sv-SE" baseline="0" dirty="0" smtClean="0"/>
              <a:t> be split </a:t>
            </a:r>
            <a:r>
              <a:rPr lang="sv-SE" baseline="0" dirty="0" err="1" smtClean="0"/>
              <a:t>into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wo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lasses</a:t>
            </a:r>
            <a:r>
              <a:rPr lang="sv-SE" baseline="0" dirty="0" smtClean="0"/>
              <a:t>. </a:t>
            </a:r>
            <a:r>
              <a:rPr lang="sv-SE" baseline="0" dirty="0" err="1" smtClean="0"/>
              <a:t>On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lass</a:t>
            </a:r>
            <a:r>
              <a:rPr lang="sv-SE" baseline="0" dirty="0" smtClean="0"/>
              <a:t> has </a:t>
            </a:r>
            <a:r>
              <a:rPr lang="sv-SE" baseline="0" dirty="0" err="1" smtClean="0"/>
              <a:t>instance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a v8 </a:t>
            </a:r>
            <a:r>
              <a:rPr lang="sv-SE" baseline="0" dirty="0" err="1" smtClean="0"/>
              <a:t>engine</a:t>
            </a:r>
            <a:r>
              <a:rPr lang="sv-SE" baseline="0" dirty="0" smtClean="0"/>
              <a:t> and the </a:t>
            </a:r>
            <a:r>
              <a:rPr lang="sv-SE" baseline="0" dirty="0" err="1" smtClean="0"/>
              <a:t>other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n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oes</a:t>
            </a:r>
            <a:r>
              <a:rPr lang="sv-SE" baseline="0" dirty="0" smtClean="0"/>
              <a:t> not. If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ssum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instance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a v8 </a:t>
            </a:r>
            <a:r>
              <a:rPr lang="sv-SE" baseline="0" dirty="0" err="1" smtClean="0"/>
              <a:t>a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escribed</a:t>
            </a:r>
            <a:r>
              <a:rPr lang="sv-SE" baseline="0" dirty="0" smtClean="0"/>
              <a:t> </a:t>
            </a:r>
            <a:r>
              <a:rPr lang="sv-SE" baseline="0" dirty="0" err="1" smtClean="0"/>
              <a:t>using</a:t>
            </a:r>
            <a:r>
              <a:rPr lang="sv-SE" baseline="0" dirty="0" smtClean="0"/>
              <a:t> </a:t>
            </a:r>
            <a:r>
              <a:rPr lang="sv-SE" baseline="0" dirty="0" err="1" smtClean="0"/>
              <a:t>variou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produc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escribing</a:t>
            </a:r>
            <a:r>
              <a:rPr lang="sv-SE" baseline="0" dirty="0" smtClean="0"/>
              <a:t> symbols, </a:t>
            </a:r>
            <a:r>
              <a:rPr lang="sv-SE" baseline="0" dirty="0" err="1" smtClean="0"/>
              <a:t>e.g</a:t>
            </a:r>
            <a:r>
              <a:rPr lang="sv-SE" baseline="0" dirty="0" smtClean="0"/>
              <a:t>. features, </a:t>
            </a:r>
            <a:r>
              <a:rPr lang="sv-SE" baseline="0" dirty="0" err="1" smtClean="0"/>
              <a:t>tim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validity</a:t>
            </a:r>
            <a:r>
              <a:rPr lang="sv-SE" baseline="0" dirty="0" smtClean="0"/>
              <a:t>, </a:t>
            </a:r>
            <a:r>
              <a:rPr lang="sv-SE" baseline="0" dirty="0" err="1" smtClean="0"/>
              <a:t>other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omai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pecific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cepts</a:t>
            </a:r>
            <a:r>
              <a:rPr lang="sv-SE" baseline="0" dirty="0" smtClean="0"/>
              <a:t> like </a:t>
            </a:r>
            <a:r>
              <a:rPr lang="sv-SE" baseline="0" dirty="0" err="1" smtClean="0"/>
              <a:t>parametrs</a:t>
            </a:r>
            <a:r>
              <a:rPr lang="sv-SE" baseline="0" dirty="0" smtClean="0"/>
              <a:t> etc., </a:t>
            </a:r>
            <a:r>
              <a:rPr lang="sv-SE" baseline="0" dirty="0" err="1" smtClean="0"/>
              <a:t>the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entailment</a:t>
            </a:r>
            <a:r>
              <a:rPr lang="sv-SE" baseline="0" dirty="0" smtClean="0"/>
              <a:t> must </a:t>
            </a:r>
            <a:r>
              <a:rPr lang="sv-SE" baseline="0" dirty="0" err="1" smtClean="0"/>
              <a:t>hold</a:t>
            </a:r>
            <a:r>
              <a:rPr lang="sv-SE" baseline="0" dirty="0" smtClean="0"/>
              <a:t> </a:t>
            </a:r>
            <a:r>
              <a:rPr lang="sv-SE" baseline="0" dirty="0" err="1" smtClean="0"/>
              <a:t>between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prese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ition</a:t>
            </a:r>
            <a:r>
              <a:rPr lang="sv-SE" baseline="0" dirty="0" smtClean="0"/>
              <a:t> and </a:t>
            </a:r>
            <a:r>
              <a:rPr lang="sv-SE" baseline="0" dirty="0" err="1" smtClean="0"/>
              <a:t>any</a:t>
            </a:r>
            <a:r>
              <a:rPr lang="sv-SE" baseline="0" dirty="0" smtClean="0"/>
              <a:t> </a:t>
            </a:r>
            <a:r>
              <a:rPr lang="sv-SE" baseline="0" dirty="0" err="1" smtClean="0"/>
              <a:t>insta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escription</a:t>
            </a:r>
            <a:r>
              <a:rPr lang="sv-SE" baseline="0" dirty="0" smtClean="0"/>
              <a:t>.</a:t>
            </a:r>
          </a:p>
          <a:p>
            <a:endParaRPr lang="sv-SE" baseline="0" dirty="0" smtClean="0"/>
          </a:p>
          <a:p>
            <a:r>
              <a:rPr lang="sv-SE" baseline="0" dirty="0" err="1" smtClean="0"/>
              <a:t>It’s</a:t>
            </a:r>
            <a:r>
              <a:rPr lang="sv-SE" baseline="0" dirty="0" smtClean="0"/>
              <a:t> not </a:t>
            </a:r>
            <a:r>
              <a:rPr lang="sv-SE" baseline="0" dirty="0" err="1" smtClean="0"/>
              <a:t>abou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labeling</a:t>
            </a:r>
            <a:r>
              <a:rPr lang="sv-SE" baseline="0" dirty="0" smtClean="0"/>
              <a:t> assets </a:t>
            </a:r>
            <a:r>
              <a:rPr lang="sv-SE" baseline="0" dirty="0" err="1" smtClean="0"/>
              <a:t>with</a:t>
            </a:r>
            <a:r>
              <a:rPr lang="sv-SE" baseline="0" dirty="0" smtClean="0"/>
              <a:t> </a:t>
            </a:r>
            <a:r>
              <a:rPr lang="sv-SE" baseline="0" dirty="0" err="1" smtClean="0"/>
              <a:t>prese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itio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bu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bou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labeling</a:t>
            </a:r>
            <a:r>
              <a:rPr lang="sv-SE" baseline="0" dirty="0" smtClean="0"/>
              <a:t> relations </a:t>
            </a:r>
            <a:r>
              <a:rPr lang="sv-SE" baseline="0" dirty="0" err="1" smtClean="0"/>
              <a:t>becaus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don’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a </a:t>
            </a:r>
            <a:r>
              <a:rPr lang="sv-SE" baseline="0" dirty="0" err="1" smtClean="0"/>
              <a:t>tre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but</a:t>
            </a:r>
            <a:r>
              <a:rPr lang="sv-SE" baseline="0" dirty="0" smtClean="0"/>
              <a:t> a </a:t>
            </a:r>
            <a:r>
              <a:rPr lang="sv-SE" baseline="0" dirty="0" err="1" smtClean="0"/>
              <a:t>graph</a:t>
            </a:r>
            <a:r>
              <a:rPr lang="sv-SE" baseline="0" dirty="0" smtClean="0"/>
              <a:t>. </a:t>
            </a:r>
            <a:r>
              <a:rPr lang="sv-SE" baseline="0" dirty="0" err="1" smtClean="0"/>
              <a:t>Therefore</a:t>
            </a:r>
            <a:r>
              <a:rPr lang="sv-SE" baseline="0" dirty="0" smtClean="0"/>
              <a:t> the relation must </a:t>
            </a:r>
            <a:r>
              <a:rPr lang="sv-SE" baseline="0" dirty="0" err="1" smtClean="0"/>
              <a:t>change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cardinality</a:t>
            </a:r>
            <a:r>
              <a:rPr lang="sv-SE" baseline="0" dirty="0" smtClean="0"/>
              <a:t> from 0..1 </a:t>
            </a:r>
            <a:r>
              <a:rPr lang="sv-SE" baseline="0" dirty="0" err="1" smtClean="0"/>
              <a:t>to</a:t>
            </a:r>
            <a:r>
              <a:rPr lang="sv-SE" baseline="0" dirty="0" smtClean="0"/>
              <a:t> 1, i.e. mandator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8384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aseline="0" dirty="0" err="1" smtClean="0"/>
              <a:t>Since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clas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ith</a:t>
            </a:r>
            <a:r>
              <a:rPr lang="sv-SE" baseline="0" dirty="0" smtClean="0"/>
              <a:t> v8 </a:t>
            </a:r>
            <a:r>
              <a:rPr lang="sv-SE" baseline="0" dirty="0" err="1" smtClean="0"/>
              <a:t>represent</a:t>
            </a:r>
            <a:r>
              <a:rPr lang="sv-SE" baseline="0" dirty="0" smtClean="0"/>
              <a:t> all </a:t>
            </a:r>
            <a:r>
              <a:rPr lang="sv-SE" baseline="0" dirty="0" err="1" smtClean="0"/>
              <a:t>instance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entail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prese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ition</a:t>
            </a:r>
            <a:r>
              <a:rPr lang="sv-SE" baseline="0" dirty="0" smtClean="0"/>
              <a:t>, the source end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the PCD relation </a:t>
            </a:r>
            <a:r>
              <a:rPr lang="sv-SE" baseline="0" dirty="0" err="1" smtClean="0"/>
              <a:t>can</a:t>
            </a:r>
            <a:r>
              <a:rPr lang="sv-SE" baseline="0" dirty="0" smtClean="0"/>
              <a:t> be switched </a:t>
            </a:r>
            <a:r>
              <a:rPr lang="sv-SE" baseline="0" dirty="0" err="1" smtClean="0"/>
              <a:t>to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class</a:t>
            </a:r>
            <a:r>
              <a:rPr lang="sv-SE" baseline="0" dirty="0" smtClean="0"/>
              <a:t> truck_with_v8 and </a:t>
            </a:r>
            <a:r>
              <a:rPr lang="sv-SE" baseline="0" dirty="0" err="1" smtClean="0"/>
              <a:t>the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is</a:t>
            </a:r>
            <a:r>
              <a:rPr lang="sv-SE" baseline="0" dirty="0" smtClean="0"/>
              <a:t> relation </a:t>
            </a:r>
            <a:r>
              <a:rPr lang="sv-SE" baseline="0" dirty="0" err="1" smtClean="0"/>
              <a:t>become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produc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figuratio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pecific</a:t>
            </a:r>
            <a:r>
              <a:rPr lang="sv-SE" baseline="0" dirty="0" smtClean="0"/>
              <a:t> and a mandatory relation. In </a:t>
            </a:r>
            <a:r>
              <a:rPr lang="sv-SE" baseline="0" dirty="0" err="1" smtClean="0"/>
              <a:t>other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ords</a:t>
            </a:r>
            <a:r>
              <a:rPr lang="sv-SE" baseline="0" dirty="0" smtClean="0"/>
              <a:t>, the </a:t>
            </a:r>
            <a:r>
              <a:rPr lang="sv-SE" baseline="0" dirty="0" err="1" smtClean="0"/>
              <a:t>presenc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iton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an explicit </a:t>
            </a:r>
            <a:r>
              <a:rPr lang="sv-SE" baseline="0" dirty="0" err="1" smtClean="0"/>
              <a:t>firs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lass</a:t>
            </a:r>
            <a:r>
              <a:rPr lang="sv-SE" baseline="0" dirty="0" smtClean="0"/>
              <a:t> representation in the </a:t>
            </a:r>
            <a:r>
              <a:rPr lang="sv-SE" baseline="0" dirty="0" err="1" smtClean="0"/>
              <a:t>model</a:t>
            </a:r>
            <a:r>
              <a:rPr lang="sv-SE" baseline="0" dirty="0" smtClean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E84D02-DDA4-4A71-B263-1F5F00A6564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8384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5A37FBB9-28FE-45B8-89E4-4E42E5B6BABD}" type="datetime1">
              <a:rPr lang="sv-SE" smtClean="0"/>
              <a:t>2017-09-23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2B8F0654-B1EC-4C49-8C1A-E0DC498DC6A9}" type="datetime1">
              <a:rPr lang="sv-SE" smtClean="0"/>
              <a:t>2017-09-23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FDA375F9-9665-4C77-8B99-039C9AE8A4CC}" type="datetime1">
              <a:rPr lang="sv-SE" smtClean="0"/>
              <a:t>2017-09-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157DB1EE-4210-48CA-A9AB-1987F1D879E6}" type="datetime1">
              <a:rPr lang="sv-SE" smtClean="0"/>
              <a:t>2017-09-2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4361B590-37C8-492C-B511-62F400C78471}" type="datetime1">
              <a:rPr lang="sv-SE" smtClean="0"/>
              <a:t>2017-09-23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433891F9-02D5-4008-87C2-34D7C203C923}" type="datetime1">
              <a:rPr lang="sv-SE" smtClean="0"/>
              <a:t>2017-09-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D3097659-B5E1-49CB-B930-A4059D98FE0C}" type="datetime1">
              <a:rPr lang="sv-SE" smtClean="0"/>
              <a:t>2017-09-2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31571BC6-4D88-4489-9643-EB424FB43858}" type="datetime1">
              <a:rPr lang="sv-SE" smtClean="0"/>
              <a:t>2017-09-2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DB203D85-84E1-4D21-AC31-3C82B9CEBE47}" type="datetime1">
              <a:rPr lang="sv-SE" smtClean="0"/>
              <a:t>2017-09-23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png"/><Relationship Id="rId7" Type="http://schemas.openxmlformats.org/officeDocument/2006/relationships/image" Target="../media/image8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0" dirty="0"/>
              <a:t>Modeling Product-Line Legacy Assets using Multi-Level Theory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558438" y="2229246"/>
            <a:ext cx="6987075" cy="1399779"/>
          </a:xfrm>
        </p:spPr>
        <p:txBody>
          <a:bodyPr>
            <a:noAutofit/>
          </a:bodyPr>
          <a:lstStyle/>
          <a:p>
            <a:r>
              <a:rPr lang="sv-SE" sz="2000" dirty="0" smtClean="0"/>
              <a:t>Damir Ne</a:t>
            </a:r>
            <a:r>
              <a:rPr lang="sr-Latn-RS" sz="2000" dirty="0" smtClean="0"/>
              <a:t>šić</a:t>
            </a:r>
            <a:r>
              <a:rPr lang="sv-SE" sz="2000" baseline="30000" dirty="0" smtClean="0"/>
              <a:t>a</a:t>
            </a:r>
            <a:r>
              <a:rPr lang="sr-Latn-RS" sz="2000" dirty="0" smtClean="0"/>
              <a:t>, Mattias </a:t>
            </a:r>
            <a:r>
              <a:rPr lang="sv-SE" sz="2000" dirty="0" err="1" smtClean="0"/>
              <a:t>Nyberg</a:t>
            </a:r>
            <a:r>
              <a:rPr lang="sv-SE" sz="2000" baseline="30000" dirty="0" err="1" smtClean="0"/>
              <a:t>a</a:t>
            </a:r>
            <a:r>
              <a:rPr lang="sv-SE" sz="2000" dirty="0" smtClean="0"/>
              <a:t>, Barbara </a:t>
            </a:r>
            <a:r>
              <a:rPr lang="sv-SE" sz="2000" dirty="0" err="1" smtClean="0"/>
              <a:t>Gallina</a:t>
            </a:r>
            <a:r>
              <a:rPr lang="sv-SE" sz="2000" baseline="30000" dirty="0" err="1" smtClean="0"/>
              <a:t>b</a:t>
            </a:r>
            <a:endParaRPr lang="sv-SE" sz="2000" baseline="30000" dirty="0" smtClean="0"/>
          </a:p>
          <a:p>
            <a:r>
              <a:rPr lang="sv-SE" sz="2000" dirty="0" smtClean="0"/>
              <a:t> </a:t>
            </a:r>
          </a:p>
          <a:p>
            <a:r>
              <a:rPr lang="sv-SE" sz="1800" i="1" baseline="30000" dirty="0" smtClean="0"/>
              <a:t>a</a:t>
            </a:r>
            <a:r>
              <a:rPr lang="sv-SE" sz="1800" i="1" dirty="0" smtClean="0"/>
              <a:t> - Royal </a:t>
            </a:r>
            <a:r>
              <a:rPr lang="en-US" sz="1800" i="1" dirty="0" smtClean="0"/>
              <a:t>Institute of Technology</a:t>
            </a:r>
            <a:r>
              <a:rPr lang="sv-SE" sz="1800" i="1" dirty="0" smtClean="0"/>
              <a:t>, Stockholm</a:t>
            </a:r>
          </a:p>
          <a:p>
            <a:r>
              <a:rPr lang="sv-SE" sz="1800" i="1" baseline="30000" dirty="0"/>
              <a:t>b</a:t>
            </a:r>
            <a:r>
              <a:rPr lang="sv-SE" sz="1800" i="1" dirty="0"/>
              <a:t> - Mälardalen University, Västerås</a:t>
            </a:r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22" y="6164329"/>
            <a:ext cx="1484999" cy="540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6852" y="227266"/>
            <a:ext cx="1806764" cy="626947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359" y="6164329"/>
            <a:ext cx="1337483" cy="540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8143" y="6164329"/>
            <a:ext cx="1985294" cy="540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764" y="6164329"/>
            <a:ext cx="1036142" cy="5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826" y="6164329"/>
            <a:ext cx="1093117" cy="5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818"/>
    </mc:Choice>
    <mc:Fallback xmlns="">
      <p:transition spd="slow" advTm="5818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Advantage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using</a:t>
            </a:r>
            <a:r>
              <a:rPr lang="sv-SE" dirty="0" smtClean="0"/>
              <a:t> Multi-</a:t>
            </a:r>
            <a:r>
              <a:rPr lang="sv-SE" dirty="0" err="1" smtClean="0"/>
              <a:t>Level</a:t>
            </a:r>
            <a:r>
              <a:rPr lang="sv-SE" dirty="0" smtClean="0"/>
              <a:t> </a:t>
            </a:r>
            <a:r>
              <a:rPr lang="sv-SE" dirty="0" err="1" smtClean="0"/>
              <a:t>Model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Unlimited number of abstraction levels reduce the need to write explicit constraints over the mode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Unlimited number of abstraction levels facilitates separation of concerns and evolu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Meta-models and models covering different aspects of the product line and also product variants can fit into a single model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0</a:t>
            </a:fld>
            <a:endParaRPr lang="sv-SE"/>
          </a:p>
        </p:txBody>
      </p:sp>
      <p:sp>
        <p:nvSpPr>
          <p:cNvPr id="5" name="TextBox 4"/>
          <p:cNvSpPr txBox="1"/>
          <p:nvPr/>
        </p:nvSpPr>
        <p:spPr>
          <a:xfrm>
            <a:off x="1371600" y="6014720"/>
            <a:ext cx="70307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When </a:t>
            </a:r>
            <a:r>
              <a:rPr lang="en-US" dirty="0">
                <a:solidFill>
                  <a:schemeClr val="bg1"/>
                </a:solidFill>
              </a:rPr>
              <a:t>and How to Use Multilevel </a:t>
            </a:r>
            <a:r>
              <a:rPr lang="en-US" dirty="0" smtClean="0">
                <a:solidFill>
                  <a:schemeClr val="bg1"/>
                </a:solidFill>
              </a:rPr>
              <a:t>Modelling. </a:t>
            </a:r>
            <a:r>
              <a:rPr lang="sv-SE" dirty="0" smtClean="0">
                <a:solidFill>
                  <a:schemeClr val="bg1"/>
                </a:solidFill>
              </a:rPr>
              <a:t>J</a:t>
            </a:r>
            <a:r>
              <a:rPr lang="sv-SE" dirty="0" smtClean="0">
                <a:solidFill>
                  <a:schemeClr val="bg1"/>
                </a:solidFill>
              </a:rPr>
              <a:t>. de </a:t>
            </a:r>
            <a:r>
              <a:rPr lang="sv-SE" dirty="0" smtClean="0">
                <a:solidFill>
                  <a:schemeClr val="bg1"/>
                </a:solidFill>
              </a:rPr>
              <a:t>Lara, E. </a:t>
            </a:r>
            <a:r>
              <a:rPr lang="sv-SE" dirty="0" err="1" smtClean="0">
                <a:solidFill>
                  <a:schemeClr val="bg1"/>
                </a:solidFill>
              </a:rPr>
              <a:t>Guerra</a:t>
            </a:r>
            <a:r>
              <a:rPr lang="sv-SE" dirty="0" smtClean="0">
                <a:solidFill>
                  <a:schemeClr val="bg1"/>
                </a:solidFill>
              </a:rPr>
              <a:t>, J. S. </a:t>
            </a:r>
            <a:r>
              <a:rPr lang="sv-SE" dirty="0" err="1" smtClean="0">
                <a:solidFill>
                  <a:schemeClr val="bg1"/>
                </a:solidFill>
              </a:rPr>
              <a:t>Cuadrado</a:t>
            </a:r>
            <a:r>
              <a:rPr lang="sv-SE" dirty="0" smtClean="0">
                <a:solidFill>
                  <a:schemeClr val="bg1"/>
                </a:solidFill>
              </a:rPr>
              <a:t>, TOSEM 2014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316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Using</a:t>
            </a:r>
            <a:r>
              <a:rPr lang="sv-SE" dirty="0"/>
              <a:t> Multi </a:t>
            </a:r>
            <a:r>
              <a:rPr lang="sv-SE" dirty="0" err="1"/>
              <a:t>Level</a:t>
            </a:r>
            <a:r>
              <a:rPr lang="sv-SE" dirty="0"/>
              <a:t> </a:t>
            </a:r>
            <a:r>
              <a:rPr lang="sv-SE" dirty="0" err="1"/>
              <a:t>conceptual</a:t>
            </a:r>
            <a:r>
              <a:rPr lang="sv-SE" dirty="0"/>
              <a:t> </a:t>
            </a:r>
            <a:r>
              <a:rPr lang="sv-SE" dirty="0" err="1"/>
              <a:t>Theory</a:t>
            </a:r>
            <a:r>
              <a:rPr lang="sv-SE" dirty="0"/>
              <a:t> (MLT)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5" t="3972" r="6605" b="14981"/>
          <a:stretch/>
        </p:blipFill>
        <p:spPr>
          <a:xfrm>
            <a:off x="558800" y="1292349"/>
            <a:ext cx="8117840" cy="440684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1</a:t>
            </a:fld>
            <a:endParaRPr lang="sv-SE"/>
          </a:p>
        </p:txBody>
      </p:sp>
      <p:sp>
        <p:nvSpPr>
          <p:cNvPr id="7" name="Donut 6"/>
          <p:cNvSpPr/>
          <p:nvPr/>
        </p:nvSpPr>
        <p:spPr>
          <a:xfrm>
            <a:off x="6113780" y="3964940"/>
            <a:ext cx="289560" cy="259080"/>
          </a:xfrm>
          <a:prstGeom prst="donut">
            <a:avLst>
              <a:gd name="adj" fmla="val 8801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" name="Donut 7"/>
          <p:cNvSpPr/>
          <p:nvPr/>
        </p:nvSpPr>
        <p:spPr>
          <a:xfrm>
            <a:off x="6492240" y="3967480"/>
            <a:ext cx="289560" cy="259080"/>
          </a:xfrm>
          <a:prstGeom prst="donut">
            <a:avLst>
              <a:gd name="adj" fmla="val 8801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Donut 8"/>
          <p:cNvSpPr/>
          <p:nvPr/>
        </p:nvSpPr>
        <p:spPr>
          <a:xfrm>
            <a:off x="7651496" y="3964940"/>
            <a:ext cx="289560" cy="259080"/>
          </a:xfrm>
          <a:prstGeom prst="donut">
            <a:avLst>
              <a:gd name="adj" fmla="val 8801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Donut 9"/>
          <p:cNvSpPr/>
          <p:nvPr/>
        </p:nvSpPr>
        <p:spPr>
          <a:xfrm>
            <a:off x="8210296" y="3967480"/>
            <a:ext cx="289560" cy="259080"/>
          </a:xfrm>
          <a:prstGeom prst="donut">
            <a:avLst>
              <a:gd name="adj" fmla="val 8801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433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preting Presence Conditions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3" t="3957" r="6749" b="15081"/>
          <a:stretch/>
        </p:blipFill>
        <p:spPr>
          <a:xfrm>
            <a:off x="702076" y="1223495"/>
            <a:ext cx="8106644" cy="439576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2</a:t>
            </a:fld>
            <a:endParaRPr lang="sv-SE"/>
          </a:p>
        </p:txBody>
      </p:sp>
      <p:sp>
        <p:nvSpPr>
          <p:cNvPr id="10" name="Rounded Rectangular Callout 9"/>
          <p:cNvSpPr/>
          <p:nvPr/>
        </p:nvSpPr>
        <p:spPr>
          <a:xfrm>
            <a:off x="6794499" y="2829560"/>
            <a:ext cx="2097405" cy="693420"/>
          </a:xfrm>
          <a:prstGeom prst="wedgeRoundRectCallout">
            <a:avLst>
              <a:gd name="adj1" fmla="val -79207"/>
              <a:gd name="adj2" fmla="val 164028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duct configuration dependent relation</a:t>
            </a:r>
          </a:p>
        </p:txBody>
      </p:sp>
    </p:spTree>
    <p:extLst>
      <p:ext uri="{BB962C8B-B14F-4D97-AF65-F5344CB8AC3E}">
        <p14:creationId xmlns:p14="http://schemas.microsoft.com/office/powerpoint/2010/main" val="2585535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reting Presence Condi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3</a:t>
            </a:fld>
            <a:endParaRPr lang="sv-SE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" t="7322" r="7139" b="4279"/>
          <a:stretch/>
        </p:blipFill>
        <p:spPr>
          <a:xfrm>
            <a:off x="828674" y="1295399"/>
            <a:ext cx="7534275" cy="4493395"/>
          </a:xfrm>
        </p:spPr>
      </p:pic>
      <p:sp>
        <p:nvSpPr>
          <p:cNvPr id="7" name="TextBox 6"/>
          <p:cNvSpPr txBox="1"/>
          <p:nvPr/>
        </p:nvSpPr>
        <p:spPr>
          <a:xfrm>
            <a:off x="5324475" y="2886063"/>
            <a:ext cx="4940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Φ</a:t>
            </a:r>
            <a:r>
              <a:rPr lang="sv-SE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endParaRPr lang="en-US" sz="2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344505" y="3347727"/>
            <a:ext cx="4908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c1</a:t>
            </a:r>
            <a:endParaRPr lang="en-US" sz="2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44505" y="4252603"/>
            <a:ext cx="4908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c2</a:t>
            </a:r>
            <a:endParaRPr lang="en-US" sz="2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344505" y="5157476"/>
            <a:ext cx="4908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c3</a:t>
            </a:r>
            <a:endParaRPr lang="en-US" sz="2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33500" y="5991225"/>
            <a:ext cx="714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onfiguration Ci = set of product-describing symbols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5" name="Straight Arrow Connector 4"/>
          <p:cNvCxnSpPr>
            <a:stCxn id="7" idx="1"/>
          </p:cNvCxnSpPr>
          <p:nvPr/>
        </p:nvCxnSpPr>
        <p:spPr>
          <a:xfrm flipH="1">
            <a:off x="4905375" y="3116896"/>
            <a:ext cx="419100" cy="102554"/>
          </a:xfrm>
          <a:prstGeom prst="straightConnector1">
            <a:avLst/>
          </a:prstGeom>
          <a:ln>
            <a:headEnd type="oval" w="med" len="med"/>
            <a:tailEnd type="triangl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28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preting Presence Condi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4</a:t>
            </a:fld>
            <a:endParaRPr lang="sv-SE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2" t="7038" r="7017" b="3857"/>
          <a:stretch/>
        </p:blipFill>
        <p:spPr>
          <a:xfrm>
            <a:off x="571499" y="1238793"/>
            <a:ext cx="7696200" cy="4611179"/>
          </a:xfrm>
        </p:spPr>
      </p:pic>
      <p:sp>
        <p:nvSpPr>
          <p:cNvPr id="7" name="TextBox 6"/>
          <p:cNvSpPr txBox="1"/>
          <p:nvPr/>
        </p:nvSpPr>
        <p:spPr>
          <a:xfrm>
            <a:off x="5324475" y="2886063"/>
            <a:ext cx="4267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Φ</a:t>
            </a:r>
            <a:endParaRPr lang="en-US" sz="2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30205" y="3404877"/>
            <a:ext cx="4908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c1</a:t>
            </a:r>
            <a:endParaRPr lang="en-US" sz="2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230205" y="4309753"/>
            <a:ext cx="4908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c2</a:t>
            </a:r>
            <a:endParaRPr lang="en-US" sz="2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230205" y="5214626"/>
            <a:ext cx="4908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c3</a:t>
            </a:r>
            <a:endParaRPr lang="en-US" sz="2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33500" y="5991225"/>
            <a:ext cx="7143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onfiguration Ci = set of product-describing symbol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387599" y="5225446"/>
            <a:ext cx="18694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Cambria Math" panose="02040503050406030204" pitchFamily="18" charset="0"/>
                <a:ea typeface="Cambria Math" panose="02040503050406030204" pitchFamily="18" charset="0"/>
              </a:rPr>
              <a:t>{c1, c2, c3</a:t>
            </a:r>
            <a:r>
              <a:rPr lang="en-US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}</a:t>
            </a:r>
            <a:r>
              <a:rPr lang="en-US" sz="2400" b="1" dirty="0" smtClean="0">
                <a:latin typeface="Accent SF" pitchFamily="2" charset="0"/>
                <a:ea typeface="Cambria Math"/>
              </a:rPr>
              <a:t> ≡</a:t>
            </a:r>
            <a:endParaRPr lang="en-US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1014411" y="2208541"/>
            <a:ext cx="2562225" cy="791183"/>
          </a:xfrm>
          <a:prstGeom prst="wedgeRoundRectCallout">
            <a:avLst>
              <a:gd name="adj1" fmla="val 108282"/>
              <a:gd name="adj2" fmla="val 126306"/>
              <a:gd name="adj3" fmla="val 16667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Product </a:t>
            </a:r>
            <a:r>
              <a:rPr lang="sv-SE" dirty="0" err="1" smtClean="0">
                <a:solidFill>
                  <a:schemeClr val="tx1"/>
                </a:solidFill>
              </a:rPr>
              <a:t>configuration</a:t>
            </a:r>
            <a:r>
              <a:rPr lang="sv-SE" dirty="0" smtClean="0">
                <a:solidFill>
                  <a:schemeClr val="tx1"/>
                </a:solidFill>
              </a:rPr>
              <a:t> </a:t>
            </a:r>
            <a:r>
              <a:rPr lang="sv-SE" dirty="0" err="1" smtClean="0">
                <a:solidFill>
                  <a:schemeClr val="tx1"/>
                </a:solidFill>
              </a:rPr>
              <a:t>specific</a:t>
            </a:r>
            <a:r>
              <a:rPr lang="sv-SE" dirty="0" smtClean="0">
                <a:solidFill>
                  <a:schemeClr val="tx1"/>
                </a:solidFill>
              </a:rPr>
              <a:t> relation</a:t>
            </a: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67375" y="2886061"/>
            <a:ext cx="21291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=| c1 </a:t>
            </a:r>
            <a:r>
              <a:rPr lang="sv-SE" sz="2400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∨ c2 ∨ c3</a:t>
            </a:r>
            <a:endParaRPr lang="en-US" sz="24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200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Expressing</a:t>
            </a:r>
            <a:r>
              <a:rPr lang="sv-SE" dirty="0" smtClean="0"/>
              <a:t> PLE </a:t>
            </a:r>
            <a:r>
              <a:rPr lang="sv-SE" dirty="0" err="1" smtClean="0"/>
              <a:t>concepts</a:t>
            </a:r>
            <a:r>
              <a:rPr lang="sv-SE" dirty="0" smtClean="0"/>
              <a:t> in MLT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8" t="7616" r="5937" b="7748"/>
          <a:stretch/>
        </p:blipFill>
        <p:spPr>
          <a:xfrm>
            <a:off x="633845" y="1126827"/>
            <a:ext cx="7419109" cy="4547198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5</a:t>
            </a:fld>
            <a:endParaRPr lang="sv-SE"/>
          </a:p>
        </p:txBody>
      </p:sp>
      <p:sp>
        <p:nvSpPr>
          <p:cNvPr id="6" name="Rectangle 5"/>
          <p:cNvSpPr/>
          <p:nvPr/>
        </p:nvSpPr>
        <p:spPr>
          <a:xfrm>
            <a:off x="1581150" y="4183380"/>
            <a:ext cx="3276600" cy="16125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4322" y="1752600"/>
            <a:ext cx="2905128" cy="1647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19073" y="3324226"/>
            <a:ext cx="2117727" cy="1647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441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ositive </a:t>
            </a:r>
            <a:r>
              <a:rPr lang="sv-SE" dirty="0" err="1" smtClean="0"/>
              <a:t>aspect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ML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yntax and </a:t>
            </a:r>
            <a:r>
              <a:rPr lang="en-US" dirty="0" smtClean="0"/>
              <a:t>s</a:t>
            </a:r>
            <a:r>
              <a:rPr lang="en-US" dirty="0" smtClean="0"/>
              <a:t>emantic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</a:t>
            </a:r>
            <a:r>
              <a:rPr lang="en-US" dirty="0" smtClean="0"/>
              <a:t>extual syntax and d</a:t>
            </a:r>
            <a:r>
              <a:rPr lang="en-US" dirty="0" smtClean="0"/>
              <a:t>efined (but not implemented)</a:t>
            </a:r>
            <a:r>
              <a:rPr lang="en-US" dirty="0" smtClean="0"/>
              <a:t> MLT-UML profile for graphical represen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emantics compatible with semantics in existing analysis too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>Conceptual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reats all abstraction levels the same, i.e. gives access to domain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Pairs of abstraction levels can be viewed as a traditional two-level, models-instance type of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04545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Conclu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582739"/>
            <a:ext cx="7118350" cy="40274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Evolving and analyzing a Product Line requires a family model covering all relevant aspects in a comprehensible and unambiguous fash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his paper presents a framework for integrated management of</a:t>
            </a:r>
            <a:r>
              <a:rPr lang="en-US" dirty="0" smtClean="0"/>
              <a:t>, but not limited to, </a:t>
            </a:r>
            <a:r>
              <a:rPr lang="en-US" dirty="0" smtClean="0"/>
              <a:t>different assets and presence conditions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Unified representation of all assets and presence conditions enables </a:t>
            </a:r>
            <a:r>
              <a:rPr lang="en-US" dirty="0" smtClean="0"/>
              <a:t>impact analysis, formal traceability, and different (rule) checking.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62131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Future</a:t>
            </a:r>
            <a:r>
              <a:rPr lang="sv-SE" dirty="0" smtClean="0"/>
              <a:t> </a:t>
            </a:r>
            <a:r>
              <a:rPr lang="sv-SE" dirty="0" err="1" smtClean="0"/>
              <a:t>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30890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nked Data supports</a:t>
            </a:r>
            <a:r>
              <a:rPr lang="en-US" dirty="0" smtClean="0"/>
              <a:t> the idea of an unlimited number of abstraction levels where all levels are treated equally.</a:t>
            </a:r>
            <a:r>
              <a:rPr lang="sv-SE" dirty="0" smtClean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Future </a:t>
            </a:r>
            <a:r>
              <a:rPr lang="en-US" dirty="0"/>
              <a:t>work aims at providing a tool supported methodology for semi-automated creation of MLT-based family models realized as Linked Data (</a:t>
            </a:r>
            <a:r>
              <a:rPr lang="en-US" dirty="0" err="1"/>
              <a:t>Lyo</a:t>
            </a:r>
            <a:r>
              <a:rPr lang="en-US" dirty="0"/>
              <a:t> toolchain</a:t>
            </a:r>
            <a:r>
              <a:rPr lang="en-US" dirty="0" smtClean="0"/>
              <a:t>**)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18</a:t>
            </a:fld>
            <a:endParaRPr lang="sv-SE"/>
          </a:p>
        </p:txBody>
      </p:sp>
      <p:sp>
        <p:nvSpPr>
          <p:cNvPr id="6" name="TextBox 5"/>
          <p:cNvSpPr txBox="1"/>
          <p:nvPr/>
        </p:nvSpPr>
        <p:spPr>
          <a:xfrm>
            <a:off x="1392381" y="5938877"/>
            <a:ext cx="723207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* Applying Multi Level Modeling to Data Integration in Product Line Engineering.</a:t>
            </a:r>
            <a:r>
              <a:rPr lang="sv-SE" sz="1200" dirty="0">
                <a:solidFill>
                  <a:schemeClr val="bg1"/>
                </a:solidFill>
              </a:rPr>
              <a:t> D. Nesic, M. Nyberg in MULTI@MODELS </a:t>
            </a:r>
            <a:r>
              <a:rPr lang="sv-SE" sz="1200" dirty="0" smtClean="0">
                <a:solidFill>
                  <a:schemeClr val="bg1"/>
                </a:solidFill>
              </a:rPr>
              <a:t>’17</a:t>
            </a:r>
            <a:endParaRPr lang="en-US" sz="12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**</a:t>
            </a:r>
            <a:r>
              <a:rPr lang="en-US" sz="1200" dirty="0" smtClean="0">
                <a:solidFill>
                  <a:schemeClr val="bg1"/>
                </a:solidFill>
              </a:rPr>
              <a:t>A </a:t>
            </a:r>
            <a:r>
              <a:rPr lang="en-US" sz="1200" dirty="0">
                <a:solidFill>
                  <a:schemeClr val="bg1"/>
                </a:solidFill>
              </a:rPr>
              <a:t>Model-Driven Engineering Approach to Software Tool Interoperability based on Linked Data. J. </a:t>
            </a:r>
            <a:r>
              <a:rPr lang="en-US" sz="1200" dirty="0" err="1">
                <a:solidFill>
                  <a:schemeClr val="bg1"/>
                </a:solidFill>
              </a:rPr>
              <a:t>El-khoury</a:t>
            </a:r>
            <a:r>
              <a:rPr lang="en-US" sz="1200" dirty="0">
                <a:solidFill>
                  <a:schemeClr val="bg1"/>
                </a:solidFill>
              </a:rPr>
              <a:t> , D. </a:t>
            </a:r>
            <a:r>
              <a:rPr lang="en-US" sz="1200" dirty="0" err="1">
                <a:solidFill>
                  <a:schemeClr val="bg1"/>
                </a:solidFill>
              </a:rPr>
              <a:t>Gurdur</a:t>
            </a:r>
            <a:r>
              <a:rPr lang="en-US" sz="1200" dirty="0">
                <a:solidFill>
                  <a:schemeClr val="bg1"/>
                </a:solidFill>
              </a:rPr>
              <a:t>, M. Nyberg, Journal On Advances in Software, </a:t>
            </a:r>
            <a:r>
              <a:rPr lang="en-US" sz="1200" dirty="0" smtClean="0">
                <a:solidFill>
                  <a:schemeClr val="bg1"/>
                </a:solidFill>
              </a:rPr>
              <a:t>2016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073532" y="2233945"/>
            <a:ext cx="1651308" cy="2488506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 smtClean="0">
                <a:solidFill>
                  <a:schemeClr val="tx1"/>
                </a:solidFill>
              </a:rPr>
              <a:t>Enterprise </a:t>
            </a:r>
            <a:r>
              <a:rPr lang="sv-SE" sz="1600" dirty="0" smtClean="0">
                <a:solidFill>
                  <a:schemeClr val="tx1"/>
                </a:solidFill>
              </a:rPr>
              <a:t>meta-</a:t>
            </a:r>
            <a:r>
              <a:rPr lang="sv-SE" sz="1600" dirty="0" err="1" smtClean="0">
                <a:solidFill>
                  <a:schemeClr val="tx1"/>
                </a:solidFill>
              </a:rPr>
              <a:t>model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442348" y="2233944"/>
            <a:ext cx="860535" cy="2488506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400" dirty="0" smtClean="0">
                <a:solidFill>
                  <a:schemeClr val="tx1"/>
                </a:solidFill>
              </a:rPr>
              <a:t>Product Variants</a:t>
            </a:r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0" name="L-Shape 9"/>
          <p:cNvSpPr/>
          <p:nvPr/>
        </p:nvSpPr>
        <p:spPr>
          <a:xfrm rot="5400000">
            <a:off x="4356551" y="1677961"/>
            <a:ext cx="2488505" cy="3600475"/>
          </a:xfrm>
          <a:prstGeom prst="corner">
            <a:avLst>
              <a:gd name="adj1" fmla="val 63008"/>
              <a:gd name="adj2" fmla="val 22023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5819" y="2863651"/>
            <a:ext cx="1945221" cy="1858800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 smtClean="0"/>
              <a:t>(Product </a:t>
            </a:r>
            <a:r>
              <a:rPr lang="sv-SE" sz="1600" dirty="0"/>
              <a:t>variants </a:t>
            </a:r>
            <a:r>
              <a:rPr lang="sv-SE" sz="1600" dirty="0" err="1" smtClean="0"/>
              <a:t>model</a:t>
            </a:r>
            <a:r>
              <a:rPr lang="sv-SE" sz="1600" dirty="0" smtClean="0"/>
              <a:t>’’)</a:t>
            </a:r>
            <a:endParaRPr lang="sv-SE" sz="1600" dirty="0" smtClean="0">
              <a:solidFill>
                <a:schemeClr val="tx1"/>
              </a:solidFill>
            </a:endParaRPr>
          </a:p>
          <a:p>
            <a:pPr algn="ctr"/>
            <a:r>
              <a:rPr lang="sv-SE" sz="1600" dirty="0" err="1" smtClean="0">
                <a:solidFill>
                  <a:schemeClr val="tx1"/>
                </a:solidFill>
              </a:rPr>
              <a:t>Reusable</a:t>
            </a:r>
            <a:r>
              <a:rPr lang="sv-SE" sz="1600" dirty="0" smtClean="0">
                <a:solidFill>
                  <a:schemeClr val="tx1"/>
                </a:solidFill>
              </a:rPr>
              <a:t> </a:t>
            </a:r>
            <a:r>
              <a:rPr lang="sv-SE" sz="1600" dirty="0" smtClean="0">
                <a:solidFill>
                  <a:schemeClr val="tx1"/>
                </a:solidFill>
              </a:rPr>
              <a:t>Assets and </a:t>
            </a:r>
            <a:r>
              <a:rPr lang="sv-SE" sz="1600" dirty="0" err="1" smtClean="0">
                <a:solidFill>
                  <a:schemeClr val="tx1"/>
                </a:solidFill>
              </a:rPr>
              <a:t>other</a:t>
            </a:r>
            <a:r>
              <a:rPr lang="sv-SE" sz="1600" dirty="0" smtClean="0">
                <a:solidFill>
                  <a:schemeClr val="tx1"/>
                </a:solidFill>
              </a:rPr>
              <a:t> </a:t>
            </a:r>
            <a:r>
              <a:rPr lang="sv-SE" sz="1600" dirty="0" err="1" smtClean="0">
                <a:solidFill>
                  <a:schemeClr val="tx1"/>
                </a:solidFill>
              </a:rPr>
              <a:t>Artifacts</a:t>
            </a:r>
            <a:endParaRPr lang="en-U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854401" y="2233944"/>
            <a:ext cx="0" cy="2488504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854401" y="2293689"/>
            <a:ext cx="2731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 smtClean="0"/>
              <a:t>Product variants </a:t>
            </a:r>
            <a:r>
              <a:rPr lang="sv-SE" sz="1400" dirty="0" smtClean="0"/>
              <a:t>(meta-) </a:t>
            </a:r>
            <a:r>
              <a:rPr lang="sv-SE" sz="1400" dirty="0" err="1" smtClean="0"/>
              <a:t>model</a:t>
            </a:r>
            <a:r>
              <a:rPr lang="sv-SE" sz="1400" dirty="0" smtClean="0"/>
              <a:t>’</a:t>
            </a:r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3800567" y="2233944"/>
            <a:ext cx="1053834" cy="24885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724840" y="3246942"/>
            <a:ext cx="12090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/>
              <a:t>PL </a:t>
            </a:r>
            <a:r>
              <a:rPr lang="sv-SE" sz="1400" dirty="0" err="1" smtClean="0"/>
              <a:t>concept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55973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4" grpId="0"/>
      <p:bldP spid="19" grpId="0" animBg="1"/>
      <p:bldP spid="1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/>
          <p:cNvCxnSpPr>
            <a:stCxn id="3" idx="3"/>
          </p:cNvCxnSpPr>
          <p:nvPr/>
        </p:nvCxnSpPr>
        <p:spPr>
          <a:xfrm flipV="1">
            <a:off x="4206976" y="1774472"/>
            <a:ext cx="579773" cy="579773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786749" y="1774472"/>
            <a:ext cx="512255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5" idx="6"/>
          </p:cNvCxnSpPr>
          <p:nvPr/>
        </p:nvCxnSpPr>
        <p:spPr>
          <a:xfrm>
            <a:off x="4334827" y="2768265"/>
            <a:ext cx="964177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4116195" y="3325443"/>
            <a:ext cx="579773" cy="579773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695968" y="3905216"/>
            <a:ext cx="603036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Reverse</a:t>
            </a:r>
            <a:r>
              <a:rPr lang="sv-SE" dirty="0" smtClean="0"/>
              <a:t> </a:t>
            </a:r>
            <a:r>
              <a:rPr lang="sv-SE" dirty="0" err="1" smtClean="0"/>
              <a:t>Engineering</a:t>
            </a:r>
            <a:r>
              <a:rPr lang="sv-SE" dirty="0" smtClean="0"/>
              <a:t> in PL </a:t>
            </a:r>
            <a:r>
              <a:rPr lang="sv-SE" dirty="0" err="1" smtClean="0"/>
              <a:t>context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113" y="1226807"/>
            <a:ext cx="2018889" cy="1863921"/>
          </a:xfrm>
        </p:spPr>
      </p:pic>
      <p:grpSp>
        <p:nvGrpSpPr>
          <p:cNvPr id="11" name="Group 10"/>
          <p:cNvGrpSpPr/>
          <p:nvPr/>
        </p:nvGrpSpPr>
        <p:grpSpPr>
          <a:xfrm>
            <a:off x="2762702" y="2006265"/>
            <a:ext cx="1572125" cy="1523999"/>
            <a:chOff x="2833937" y="1790700"/>
            <a:chExt cx="1572125" cy="1523999"/>
          </a:xfrm>
        </p:grpSpPr>
        <p:sp>
          <p:nvSpPr>
            <p:cNvPr id="5" name="Donut 4"/>
            <p:cNvSpPr/>
            <p:nvPr/>
          </p:nvSpPr>
          <p:spPr>
            <a:xfrm>
              <a:off x="2833937" y="1790700"/>
              <a:ext cx="1572125" cy="1523999"/>
            </a:xfrm>
            <a:prstGeom prst="donut">
              <a:avLst>
                <a:gd name="adj" fmla="val 14450"/>
              </a:avLst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991349" y="2368033"/>
              <a:ext cx="12573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xtraction</a:t>
              </a:r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" name="Half Frame 2"/>
            <p:cNvSpPr/>
            <p:nvPr/>
          </p:nvSpPr>
          <p:spPr>
            <a:xfrm rot="5400000" flipH="1">
              <a:off x="4028372" y="2021840"/>
              <a:ext cx="265997" cy="233680"/>
            </a:xfrm>
            <a:prstGeom prst="halfFrame">
              <a:avLst/>
            </a:prstGeom>
            <a:ln w="19050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Half Frame 7"/>
            <p:cNvSpPr/>
            <p:nvPr/>
          </p:nvSpPr>
          <p:spPr>
            <a:xfrm rot="5400000" flipH="1" flipV="1">
              <a:off x="4028371" y="2860040"/>
              <a:ext cx="265997" cy="233680"/>
            </a:xfrm>
            <a:prstGeom prst="halfFrame">
              <a:avLst/>
            </a:prstGeom>
            <a:ln w="19050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" name="Half Frame 8"/>
            <p:cNvSpPr/>
            <p:nvPr/>
          </p:nvSpPr>
          <p:spPr>
            <a:xfrm rot="16200000" flipH="1">
              <a:off x="2975191" y="2860039"/>
              <a:ext cx="265997" cy="233680"/>
            </a:xfrm>
            <a:prstGeom prst="halfFrame">
              <a:avLst/>
            </a:prstGeom>
            <a:ln w="19050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0" name="Half Frame 9"/>
            <p:cNvSpPr/>
            <p:nvPr/>
          </p:nvSpPr>
          <p:spPr>
            <a:xfrm rot="5400000">
              <a:off x="2975190" y="2037999"/>
              <a:ext cx="265997" cy="233680"/>
            </a:xfrm>
            <a:prstGeom prst="halfFrame">
              <a:avLst/>
            </a:prstGeom>
            <a:ln w="19050"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2" name="Rounded Rectangle 31"/>
          <p:cNvSpPr/>
          <p:nvPr/>
        </p:nvSpPr>
        <p:spPr>
          <a:xfrm>
            <a:off x="5354822" y="1567975"/>
            <a:ext cx="1191491" cy="412994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atures</a:t>
            </a:r>
            <a:endParaRPr lang="en-US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354822" y="2466085"/>
            <a:ext cx="1558637" cy="604358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ature-Asset Dependencies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5354822" y="3633730"/>
            <a:ext cx="1761242" cy="542972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mily/Domain/150% Model</a:t>
            </a:r>
          </a:p>
        </p:txBody>
      </p:sp>
      <p:sp>
        <p:nvSpPr>
          <p:cNvPr id="46" name="Chevron 45"/>
          <p:cNvSpPr/>
          <p:nvPr/>
        </p:nvSpPr>
        <p:spPr>
          <a:xfrm>
            <a:off x="2286002" y="2543127"/>
            <a:ext cx="422563" cy="450273"/>
          </a:xfrm>
          <a:prstGeom prst="chevron">
            <a:avLst>
              <a:gd name="adj" fmla="val 46923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8" name="Slide Number Placeholder 4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/>
          </a:p>
        </p:txBody>
      </p:sp>
      <p:sp>
        <p:nvSpPr>
          <p:cNvPr id="49" name="Rounded Rectangle 48"/>
          <p:cNvSpPr/>
          <p:nvPr/>
        </p:nvSpPr>
        <p:spPr>
          <a:xfrm>
            <a:off x="7318669" y="1474322"/>
            <a:ext cx="1537854" cy="600299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ature Diagram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7318669" y="2445028"/>
            <a:ext cx="1537854" cy="638152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fferent Formulas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7318669" y="3569243"/>
            <a:ext cx="1537854" cy="671945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  <p:cxnSp>
        <p:nvCxnSpPr>
          <p:cNvPr id="53" name="Straight Arrow Connector 52"/>
          <p:cNvCxnSpPr>
            <a:stCxn id="32" idx="3"/>
            <a:endCxn id="49" idx="1"/>
          </p:cNvCxnSpPr>
          <p:nvPr/>
        </p:nvCxnSpPr>
        <p:spPr>
          <a:xfrm>
            <a:off x="6546313" y="1774472"/>
            <a:ext cx="772356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33" idx="3"/>
            <a:endCxn id="50" idx="1"/>
          </p:cNvCxnSpPr>
          <p:nvPr/>
        </p:nvCxnSpPr>
        <p:spPr>
          <a:xfrm flipV="1">
            <a:off x="6913459" y="2764104"/>
            <a:ext cx="405210" cy="416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34" idx="3"/>
            <a:endCxn id="51" idx="1"/>
          </p:cNvCxnSpPr>
          <p:nvPr/>
        </p:nvCxnSpPr>
        <p:spPr>
          <a:xfrm>
            <a:off x="7116064" y="3905216"/>
            <a:ext cx="202605" cy="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031" y="2728520"/>
            <a:ext cx="2068536" cy="1855528"/>
          </a:xfrm>
          <a:prstGeom prst="rect">
            <a:avLst/>
          </a:prstGeom>
        </p:spPr>
      </p:pic>
      <p:sp>
        <p:nvSpPr>
          <p:cNvPr id="30" name="Content Placeholder 2"/>
          <p:cNvSpPr txBox="1">
            <a:spLocks/>
          </p:cNvSpPr>
          <p:nvPr/>
        </p:nvSpPr>
        <p:spPr>
          <a:xfrm>
            <a:off x="474133" y="4499382"/>
            <a:ext cx="8382390" cy="15458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</a:t>
            </a:r>
            <a:r>
              <a:rPr lang="en-US" dirty="0" smtClean="0"/>
              <a:t> family model is highly relevant for:</a:t>
            </a:r>
          </a:p>
          <a:p>
            <a:pPr marL="698500" lvl="1" indent="-342900">
              <a:buFont typeface="Wingdings" panose="05000000000000000000" pitchFamily="2" charset="2"/>
              <a:buChar char="§"/>
            </a:pPr>
            <a:r>
              <a:rPr lang="en-US" dirty="0" smtClean="0"/>
              <a:t>Impact analysis</a:t>
            </a:r>
          </a:p>
          <a:p>
            <a:pPr marL="698500" lvl="1" indent="-342900">
              <a:buFont typeface="Wingdings" panose="05000000000000000000" pitchFamily="2" charset="2"/>
              <a:buChar char="§"/>
            </a:pPr>
            <a:r>
              <a:rPr lang="en-US" dirty="0" smtClean="0"/>
              <a:t>Enables formal traceability and consistency checking w.r.t. </a:t>
            </a:r>
            <a:r>
              <a:rPr lang="en-US" dirty="0" err="1" smtClean="0"/>
              <a:t>configs</a:t>
            </a:r>
            <a:endParaRPr lang="en-US" dirty="0" smtClean="0"/>
          </a:p>
          <a:p>
            <a:pPr marL="698500" lvl="1" indent="-342900">
              <a:buFont typeface="Wingdings" panose="05000000000000000000" pitchFamily="2" charset="2"/>
              <a:buChar char="§"/>
            </a:pPr>
            <a:r>
              <a:rPr lang="en-US" dirty="0" smtClean="0"/>
              <a:t>Analyzing compliance with standardized </a:t>
            </a:r>
            <a:r>
              <a:rPr lang="en-US" dirty="0" smtClean="0"/>
              <a:t>pract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842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/>
      <p:bldP spid="46" grpId="0" animBg="1"/>
      <p:bldP spid="49" grpId="0" animBg="1"/>
      <p:bldP spid="50" grpId="0" animBg="1"/>
      <p:bldP spid="5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malism for representing family mode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p:sp>
        <p:nvSpPr>
          <p:cNvPr id="5" name="Content Placeholder 4"/>
          <p:cNvSpPr txBox="1">
            <a:spLocks noGrp="1"/>
          </p:cNvSpPr>
          <p:nvPr>
            <p:ph idx="1"/>
          </p:nvPr>
        </p:nvSpPr>
        <p:spPr>
          <a:xfrm>
            <a:off x="1278467" y="1498069"/>
            <a:ext cx="7653865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 family model of a particular type of asset can be represented using formalisms suitable for that type of ass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What is the appropriate formalism for a family model that can capture all types of assets, their relations, and presence conditions</a:t>
            </a:r>
            <a:r>
              <a:rPr lang="en-US" dirty="0" smtClean="0"/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How to construct this model without introducing new tools, processes etc.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32" r="26230"/>
          <a:stretch/>
        </p:blipFill>
        <p:spPr>
          <a:xfrm rot="540039">
            <a:off x="897468" y="2480903"/>
            <a:ext cx="3192780" cy="11851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1" t="20371" r="5590" b="10417"/>
          <a:stretch/>
        </p:blipFill>
        <p:spPr>
          <a:xfrm rot="21112872">
            <a:off x="3666067" y="2420943"/>
            <a:ext cx="2692400" cy="15217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2" t="19736" r="2315" b="8984"/>
          <a:stretch/>
        </p:blipFill>
        <p:spPr>
          <a:xfrm rot="239525">
            <a:off x="5574588" y="2458189"/>
            <a:ext cx="3056468" cy="123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271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ism for representing family mod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Desired properties </a:t>
            </a:r>
            <a:r>
              <a:rPr lang="en-US" dirty="0" smtClean="0"/>
              <a:t>of such formalism:</a:t>
            </a:r>
          </a:p>
          <a:p>
            <a:pPr marL="698500" lvl="1" indent="-342900">
              <a:buFont typeface="Wingdings" panose="05000000000000000000" pitchFamily="2" charset="2"/>
              <a:buChar char="§"/>
            </a:pPr>
            <a:r>
              <a:rPr lang="en-US" dirty="0" smtClean="0"/>
              <a:t>General purpose</a:t>
            </a:r>
          </a:p>
          <a:p>
            <a:pPr marL="698500" lvl="1" indent="-342900">
              <a:buFont typeface="Wingdings" panose="05000000000000000000" pitchFamily="2" charset="2"/>
              <a:buChar char="§"/>
            </a:pPr>
            <a:r>
              <a:rPr lang="en-US" dirty="0" smtClean="0"/>
              <a:t>Expressive enough</a:t>
            </a:r>
          </a:p>
          <a:p>
            <a:pPr marL="698500" lvl="1" indent="-342900">
              <a:buFont typeface="Wingdings" panose="05000000000000000000" pitchFamily="2" charset="2"/>
              <a:buChar char="§"/>
            </a:pPr>
            <a:r>
              <a:rPr lang="en-US" dirty="0" smtClean="0"/>
              <a:t>Clear (preferably formal) semantics</a:t>
            </a:r>
          </a:p>
          <a:p>
            <a:pPr marL="698500" lvl="1" indent="-342900"/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”</a:t>
            </a:r>
            <a:r>
              <a:rPr lang="en-US" i="1" dirty="0" smtClean="0"/>
              <a:t>existing </a:t>
            </a:r>
            <a:r>
              <a:rPr lang="en-US" i="1" dirty="0"/>
              <a:t>modeling techniques such as UML were </a:t>
            </a:r>
            <a:r>
              <a:rPr lang="en-US" i="1" dirty="0" smtClean="0"/>
              <a:t>not suitable </a:t>
            </a:r>
            <a:r>
              <a:rPr lang="en-US" i="1" dirty="0"/>
              <a:t>for this purpose</a:t>
            </a:r>
            <a:r>
              <a:rPr lang="sv-SE" dirty="0" smtClean="0"/>
              <a:t>”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5" name="TextBox 4"/>
          <p:cNvSpPr txBox="1"/>
          <p:nvPr/>
        </p:nvSpPr>
        <p:spPr>
          <a:xfrm>
            <a:off x="1405467" y="6028267"/>
            <a:ext cx="7145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”</a:t>
            </a:r>
            <a:r>
              <a:rPr lang="en-US" dirty="0" smtClean="0">
                <a:solidFill>
                  <a:schemeClr val="bg1"/>
                </a:solidFill>
              </a:rPr>
              <a:t>Using </a:t>
            </a:r>
            <a:r>
              <a:rPr lang="en-US" dirty="0">
                <a:solidFill>
                  <a:schemeClr val="bg1"/>
                </a:solidFill>
              </a:rPr>
              <a:t>pure::variants Across The Product Line Lifecycle. </a:t>
            </a:r>
            <a:r>
              <a:rPr lang="en-US" dirty="0" smtClean="0">
                <a:solidFill>
                  <a:schemeClr val="bg1"/>
                </a:solidFill>
              </a:rPr>
              <a:t>D. </a:t>
            </a:r>
            <a:r>
              <a:rPr lang="en-US" dirty="0" err="1">
                <a:solidFill>
                  <a:schemeClr val="bg1"/>
                </a:solidFill>
              </a:rPr>
              <a:t>Beuche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smtClean="0">
                <a:solidFill>
                  <a:schemeClr val="bg1"/>
                </a:solidFill>
              </a:rPr>
              <a:t>R. </a:t>
            </a:r>
            <a:r>
              <a:rPr lang="en-US" dirty="0" err="1" smtClean="0">
                <a:solidFill>
                  <a:schemeClr val="bg1"/>
                </a:solidFill>
              </a:rPr>
              <a:t>Hellebrand</a:t>
            </a:r>
            <a:r>
              <a:rPr lang="en-US" dirty="0" smtClean="0">
                <a:solidFill>
                  <a:schemeClr val="bg1"/>
                </a:solidFill>
              </a:rPr>
              <a:t>, in proceedings of SPLC’17</a:t>
            </a:r>
            <a:r>
              <a:rPr lang="sv-SE" dirty="0" smtClean="0">
                <a:solidFill>
                  <a:schemeClr val="bg1"/>
                </a:solidFill>
              </a:rPr>
              <a:t>”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449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iculties with traditional model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  <p:sp>
        <p:nvSpPr>
          <p:cNvPr id="5" name="Rounded Rectangle 4"/>
          <p:cNvSpPr/>
          <p:nvPr/>
        </p:nvSpPr>
        <p:spPr>
          <a:xfrm>
            <a:off x="2314532" y="4223798"/>
            <a:ext cx="1227666" cy="48600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2314532" y="4402021"/>
            <a:ext cx="122766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2524505" y="4145918"/>
            <a:ext cx="807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truck</a:t>
            </a:r>
            <a:endParaRPr lang="en-US" sz="14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50184" y="4402021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N=”ab123x”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4706196" y="4227608"/>
            <a:ext cx="1227666" cy="48600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4706196" y="4405831"/>
            <a:ext cx="122766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4916169" y="4149728"/>
            <a:ext cx="807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Sven</a:t>
            </a:r>
            <a:endParaRPr lang="en-US" sz="14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641848" y="4405831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actNo</a:t>
            </a:r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=57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2314531" y="3232592"/>
            <a:ext cx="1227666" cy="48600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2314531" y="3410815"/>
            <a:ext cx="1227666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524504" y="3154712"/>
            <a:ext cx="807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uck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07942" y="3410814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N:String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4706195" y="3232592"/>
            <a:ext cx="1227666" cy="48600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4706195" y="3410815"/>
            <a:ext cx="1227666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4819649" y="3154712"/>
            <a:ext cx="1000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mployee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641847" y="3410815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actNo:Int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8" name="Straight Arrow Connector 37"/>
          <p:cNvCxnSpPr>
            <a:stCxn id="12" idx="0"/>
            <a:endCxn id="21" idx="2"/>
          </p:cNvCxnSpPr>
          <p:nvPr/>
        </p:nvCxnSpPr>
        <p:spPr>
          <a:xfrm flipH="1" flipV="1">
            <a:off x="2928364" y="3718592"/>
            <a:ext cx="1" cy="5052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18" idx="0"/>
            <a:endCxn id="31" idx="2"/>
          </p:cNvCxnSpPr>
          <p:nvPr/>
        </p:nvCxnSpPr>
        <p:spPr>
          <a:xfrm flipH="1" flipV="1">
            <a:off x="5320028" y="3718592"/>
            <a:ext cx="1" cy="5052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1655825" y="3971195"/>
            <a:ext cx="48514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6165849" y="4282132"/>
            <a:ext cx="1366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Real </a:t>
            </a:r>
            <a:r>
              <a:rPr lang="en-US" dirty="0" smtClean="0"/>
              <a:t>things</a:t>
            </a:r>
            <a:endParaRPr lang="en-US" dirty="0"/>
          </a:p>
        </p:txBody>
      </p:sp>
      <p:sp>
        <p:nvSpPr>
          <p:cNvPr id="75" name="TextBox 74"/>
          <p:cNvSpPr txBox="1"/>
          <p:nvPr/>
        </p:nvSpPr>
        <p:spPr>
          <a:xfrm>
            <a:off x="6165849" y="3290926"/>
            <a:ext cx="1488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err="1" smtClean="0"/>
              <a:t>Model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en-US" dirty="0"/>
          </a:p>
        </p:txBody>
      </p:sp>
      <p:sp>
        <p:nvSpPr>
          <p:cNvPr id="77" name="TextBox 76"/>
          <p:cNvSpPr txBox="1"/>
          <p:nvPr/>
        </p:nvSpPr>
        <p:spPr>
          <a:xfrm>
            <a:off x="5325953" y="3919955"/>
            <a:ext cx="1004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nceOf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2896190" y="3919955"/>
            <a:ext cx="1004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nceOf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2" name="Straight Arrow Connector 81"/>
          <p:cNvCxnSpPr>
            <a:stCxn id="21" idx="3"/>
          </p:cNvCxnSpPr>
          <p:nvPr/>
        </p:nvCxnSpPr>
        <p:spPr>
          <a:xfrm>
            <a:off x="3542197" y="3475592"/>
            <a:ext cx="116399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3542197" y="3137037"/>
            <a:ext cx="1129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embledBy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5" name="Straight Arrow Connector 84"/>
          <p:cNvCxnSpPr>
            <a:stCxn id="5" idx="3"/>
          </p:cNvCxnSpPr>
          <p:nvPr/>
        </p:nvCxnSpPr>
        <p:spPr>
          <a:xfrm>
            <a:off x="3542198" y="4466798"/>
            <a:ext cx="116399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3559257" y="4109007"/>
            <a:ext cx="1129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i="1" u="sng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embledBy</a:t>
            </a:r>
            <a:endParaRPr lang="en-US" sz="1400" i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208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iculties with traditional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  <p:sp>
        <p:nvSpPr>
          <p:cNvPr id="5" name="Rounded Rectangle 4"/>
          <p:cNvSpPr/>
          <p:nvPr/>
        </p:nvSpPr>
        <p:spPr>
          <a:xfrm>
            <a:off x="2182706" y="4187263"/>
            <a:ext cx="1227666" cy="48600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2182706" y="4365486"/>
            <a:ext cx="122766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392679" y="4109383"/>
            <a:ext cx="807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truck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18358" y="4365486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N=”ab123x”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646506" y="4191073"/>
            <a:ext cx="1227666" cy="48600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646506" y="4369296"/>
            <a:ext cx="122766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856479" y="4113193"/>
            <a:ext cx="807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Sven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82158" y="4369296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actNo</a:t>
            </a:r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=57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182705" y="3196057"/>
            <a:ext cx="1227666" cy="48600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182705" y="3374280"/>
            <a:ext cx="1227666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392678" y="3118177"/>
            <a:ext cx="807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uck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76116" y="3374279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N:String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1" name="Straight Arrow Connector 20"/>
          <p:cNvCxnSpPr>
            <a:stCxn id="7" idx="0"/>
            <a:endCxn id="13" idx="2"/>
          </p:cNvCxnSpPr>
          <p:nvPr/>
        </p:nvCxnSpPr>
        <p:spPr>
          <a:xfrm flipH="1" flipV="1">
            <a:off x="2796538" y="3682057"/>
            <a:ext cx="1" cy="5052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1" idx="0"/>
            <a:endCxn id="29" idx="2"/>
          </p:cNvCxnSpPr>
          <p:nvPr/>
        </p:nvCxnSpPr>
        <p:spPr>
          <a:xfrm flipH="1" flipV="1">
            <a:off x="5260337" y="2690851"/>
            <a:ext cx="2" cy="1496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803399" y="3934660"/>
            <a:ext cx="48514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6294119" y="4245597"/>
            <a:ext cx="1366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Real </a:t>
            </a:r>
            <a:r>
              <a:rPr lang="en-US" dirty="0" smtClean="0"/>
              <a:t>things</a:t>
            </a:r>
            <a:endParaRPr lang="en-US" dirty="0"/>
          </a:p>
        </p:txBody>
      </p:sp>
      <p:sp>
        <p:nvSpPr>
          <p:cNvPr id="25" name="Rounded Rectangle 24"/>
          <p:cNvSpPr/>
          <p:nvPr/>
        </p:nvSpPr>
        <p:spPr>
          <a:xfrm>
            <a:off x="2182704" y="2204851"/>
            <a:ext cx="1227666" cy="486000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2182704" y="2383074"/>
            <a:ext cx="12276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230119" y="2126971"/>
            <a:ext cx="1102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ductType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76115" y="2383073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N:String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646504" y="2204851"/>
            <a:ext cx="1227666" cy="486000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646504" y="2383074"/>
            <a:ext cx="12276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759958" y="2126971"/>
            <a:ext cx="1000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mployee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82156" y="2383074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actNo:Int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3" name="Straight Arrow Connector 32"/>
          <p:cNvCxnSpPr>
            <a:endCxn id="25" idx="2"/>
          </p:cNvCxnSpPr>
          <p:nvPr/>
        </p:nvCxnSpPr>
        <p:spPr>
          <a:xfrm flipH="1" flipV="1">
            <a:off x="2796537" y="2690851"/>
            <a:ext cx="1" cy="5052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803399" y="2938980"/>
            <a:ext cx="48514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294119" y="3254391"/>
            <a:ext cx="1488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err="1" smtClean="0"/>
              <a:t>Model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294119" y="2263185"/>
            <a:ext cx="2026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Meta-</a:t>
            </a:r>
            <a:r>
              <a:rPr lang="sv-SE" dirty="0" err="1" smtClean="0"/>
              <a:t>Model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en-US" dirty="0"/>
          </a:p>
        </p:txBody>
      </p:sp>
      <p:sp>
        <p:nvSpPr>
          <p:cNvPr id="38" name="TextBox 37"/>
          <p:cNvSpPr txBox="1"/>
          <p:nvPr/>
        </p:nvSpPr>
        <p:spPr>
          <a:xfrm>
            <a:off x="5266263" y="3883420"/>
            <a:ext cx="1004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nceOf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827015" y="3883420"/>
            <a:ext cx="1004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nceOf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833785" y="2888280"/>
            <a:ext cx="1004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nceOf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266263" y="3220391"/>
            <a:ext cx="1004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nceOf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6" name="Straight Arrow Connector 45"/>
          <p:cNvCxnSpPr>
            <a:stCxn id="25" idx="3"/>
          </p:cNvCxnSpPr>
          <p:nvPr/>
        </p:nvCxnSpPr>
        <p:spPr>
          <a:xfrm flipV="1">
            <a:off x="3410370" y="2434748"/>
            <a:ext cx="1236134" cy="131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3590499" y="2142027"/>
            <a:ext cx="1129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eatedBy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6" name="Straight Arrow Connector 55"/>
          <p:cNvCxnSpPr>
            <a:stCxn id="13" idx="3"/>
          </p:cNvCxnSpPr>
          <p:nvPr/>
        </p:nvCxnSpPr>
        <p:spPr>
          <a:xfrm>
            <a:off x="3410371" y="3439057"/>
            <a:ext cx="1236133" cy="9781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 rot="2330170">
            <a:off x="3535349" y="3574579"/>
            <a:ext cx="1129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i="1" u="sng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eatedBy</a:t>
            </a:r>
            <a:endParaRPr lang="en-US" sz="1400" i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Multiply 57"/>
          <p:cNvSpPr/>
          <p:nvPr/>
        </p:nvSpPr>
        <p:spPr>
          <a:xfrm>
            <a:off x="3892643" y="3716295"/>
            <a:ext cx="224790" cy="221166"/>
          </a:xfrm>
          <a:prstGeom prst="mathMultiply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59" name="Straight Arrow Connector 58"/>
          <p:cNvCxnSpPr>
            <a:stCxn id="13" idx="3"/>
          </p:cNvCxnSpPr>
          <p:nvPr/>
        </p:nvCxnSpPr>
        <p:spPr>
          <a:xfrm flipV="1">
            <a:off x="3410371" y="2690851"/>
            <a:ext cx="1268308" cy="7482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 rot="19638905">
            <a:off x="3664160" y="2716223"/>
            <a:ext cx="1129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embledBy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Multiply 60"/>
          <p:cNvSpPr/>
          <p:nvPr/>
        </p:nvSpPr>
        <p:spPr>
          <a:xfrm>
            <a:off x="4210683" y="2870111"/>
            <a:ext cx="224790" cy="221166"/>
          </a:xfrm>
          <a:prstGeom prst="mathMultiply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4" name="Multiply 43"/>
          <p:cNvSpPr/>
          <p:nvPr/>
        </p:nvSpPr>
        <p:spPr>
          <a:xfrm>
            <a:off x="5115767" y="3290495"/>
            <a:ext cx="224790" cy="221166"/>
          </a:xfrm>
          <a:prstGeom prst="mathMultiply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353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61" grpId="0" animBg="1"/>
      <p:bldP spid="4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iculties with traditional mode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  <p:sp>
        <p:nvSpPr>
          <p:cNvPr id="5" name="Rounded Rectangle 4"/>
          <p:cNvSpPr/>
          <p:nvPr/>
        </p:nvSpPr>
        <p:spPr>
          <a:xfrm>
            <a:off x="1451134" y="4333886"/>
            <a:ext cx="1227666" cy="48600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451134" y="4512109"/>
            <a:ext cx="122766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661107" y="4256006"/>
            <a:ext cx="807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truck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86786" y="4512109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N=”ab123x”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540589" y="4337696"/>
            <a:ext cx="1227666" cy="48600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5540589" y="4515919"/>
            <a:ext cx="122766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750562" y="4259816"/>
            <a:ext cx="807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Sven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76241" y="4515919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actNo</a:t>
            </a:r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=57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451133" y="3342680"/>
            <a:ext cx="1227666" cy="48600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1451133" y="3520903"/>
            <a:ext cx="1227666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661106" y="3264800"/>
            <a:ext cx="807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uck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44544" y="3520902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N:String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1" name="Straight Arrow Connector 20"/>
          <p:cNvCxnSpPr>
            <a:stCxn id="7" idx="0"/>
            <a:endCxn id="13" idx="2"/>
          </p:cNvCxnSpPr>
          <p:nvPr/>
        </p:nvCxnSpPr>
        <p:spPr>
          <a:xfrm flipH="1" flipV="1">
            <a:off x="2064966" y="3828680"/>
            <a:ext cx="1" cy="5052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1" idx="0"/>
            <a:endCxn id="29" idx="2"/>
          </p:cNvCxnSpPr>
          <p:nvPr/>
        </p:nvCxnSpPr>
        <p:spPr>
          <a:xfrm flipH="1" flipV="1">
            <a:off x="6154420" y="2837474"/>
            <a:ext cx="2" cy="1496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816933" y="4081283"/>
            <a:ext cx="48514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7047651" y="4392220"/>
            <a:ext cx="1366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Real </a:t>
            </a:r>
            <a:r>
              <a:rPr lang="en-US" dirty="0" smtClean="0"/>
              <a:t>things</a:t>
            </a:r>
            <a:endParaRPr lang="en-US" dirty="0"/>
          </a:p>
        </p:txBody>
      </p:sp>
      <p:sp>
        <p:nvSpPr>
          <p:cNvPr id="25" name="Rounded Rectangle 24"/>
          <p:cNvSpPr/>
          <p:nvPr/>
        </p:nvSpPr>
        <p:spPr>
          <a:xfrm>
            <a:off x="1451132" y="2351474"/>
            <a:ext cx="1227666" cy="486000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1451132" y="2529697"/>
            <a:ext cx="12276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498547" y="2273594"/>
            <a:ext cx="1102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ductType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5540587" y="2351474"/>
            <a:ext cx="1227666" cy="486000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5540587" y="2529697"/>
            <a:ext cx="12276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654041" y="2273594"/>
            <a:ext cx="10007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mployee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476239" y="2529697"/>
            <a:ext cx="1292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actId:Int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3" name="Straight Arrow Connector 32"/>
          <p:cNvCxnSpPr>
            <a:endCxn id="25" idx="2"/>
          </p:cNvCxnSpPr>
          <p:nvPr/>
        </p:nvCxnSpPr>
        <p:spPr>
          <a:xfrm flipH="1" flipV="1">
            <a:off x="2064965" y="2837474"/>
            <a:ext cx="1" cy="5052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816933" y="3085603"/>
            <a:ext cx="48514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7047651" y="3401014"/>
            <a:ext cx="1488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err="1" smtClean="0"/>
              <a:t>Model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7047651" y="2409808"/>
            <a:ext cx="2026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Meta-</a:t>
            </a:r>
            <a:r>
              <a:rPr lang="sv-SE" dirty="0" err="1" smtClean="0"/>
              <a:t>Model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2032792" y="4030043"/>
            <a:ext cx="1004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nceOf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032791" y="3027200"/>
            <a:ext cx="1004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nceOf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122245" y="3364068"/>
            <a:ext cx="1004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nceOf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6" name="Straight Arrow Connector 45"/>
          <p:cNvCxnSpPr>
            <a:stCxn id="25" idx="3"/>
          </p:cNvCxnSpPr>
          <p:nvPr/>
        </p:nvCxnSpPr>
        <p:spPr>
          <a:xfrm flipV="1">
            <a:off x="2678798" y="2581371"/>
            <a:ext cx="2861791" cy="131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2604927" y="2288650"/>
            <a:ext cx="1129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eatedBy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6" name="Straight Arrow Connector 55"/>
          <p:cNvCxnSpPr>
            <a:stCxn id="13" idx="3"/>
          </p:cNvCxnSpPr>
          <p:nvPr/>
        </p:nvCxnSpPr>
        <p:spPr>
          <a:xfrm>
            <a:off x="2678799" y="3585680"/>
            <a:ext cx="2861790" cy="9781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 rot="1172141">
            <a:off x="4391775" y="4024280"/>
            <a:ext cx="1129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i="1" u="sng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eatedBy</a:t>
            </a:r>
            <a:endParaRPr lang="en-US" sz="1400" i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Multiply 57"/>
          <p:cNvSpPr/>
          <p:nvPr/>
        </p:nvSpPr>
        <p:spPr>
          <a:xfrm>
            <a:off x="4311915" y="3948449"/>
            <a:ext cx="224790" cy="221166"/>
          </a:xfrm>
          <a:prstGeom prst="mathMultiply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59" name="Straight Arrow Connector 58"/>
          <p:cNvCxnSpPr/>
          <p:nvPr/>
        </p:nvCxnSpPr>
        <p:spPr>
          <a:xfrm>
            <a:off x="2678798" y="3585680"/>
            <a:ext cx="110193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2664828" y="3283157"/>
            <a:ext cx="1129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embledBy</a:t>
            </a:r>
            <a:endParaRPr lang="en-US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3780737" y="3342680"/>
            <a:ext cx="2002155" cy="486000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3780737" y="3520903"/>
            <a:ext cx="2002155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3693424" y="3277903"/>
            <a:ext cx="21774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mployeeInstance:Instance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693424" y="3502944"/>
            <a:ext cx="1461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actNo</a:t>
            </a:r>
            <a:r>
              <a:rPr lang="sv-SE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=57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2" name="Straight Arrow Connector 41"/>
          <p:cNvCxnSpPr>
            <a:stCxn id="5" idx="3"/>
          </p:cNvCxnSpPr>
          <p:nvPr/>
        </p:nvCxnSpPr>
        <p:spPr>
          <a:xfrm>
            <a:off x="2678800" y="4576886"/>
            <a:ext cx="2861790" cy="38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3182038" y="4256005"/>
            <a:ext cx="11298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i="1" u="sng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embledBy</a:t>
            </a:r>
            <a:endParaRPr lang="en-US" sz="1400" i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0" name="Elbow Connector 49"/>
          <p:cNvCxnSpPr>
            <a:stCxn id="11" idx="0"/>
            <a:endCxn id="44" idx="3"/>
          </p:cNvCxnSpPr>
          <p:nvPr/>
        </p:nvCxnSpPr>
        <p:spPr>
          <a:xfrm rot="16200000" flipV="1">
            <a:off x="5631589" y="3736983"/>
            <a:ext cx="674136" cy="371530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1" name="Picture 3" descr="C:\Users\damirn\AppData\Local\Microsoft\Windows\Temporary Internet Files\Content.IE5\ID2PHUQJ\70px-Exclamation_mark_red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8001" y="3306151"/>
            <a:ext cx="279528" cy="279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3" descr="C:\Users\damirn\AppData\Local\Microsoft\Windows\Temporary Internet Files\Content.IE5\ID2PHUQJ\70px-Exclamation_mark_red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498" y="2837474"/>
            <a:ext cx="279528" cy="279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136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ulti </a:t>
            </a:r>
            <a:r>
              <a:rPr lang="sv-SE" dirty="0" err="1" smtClean="0"/>
              <a:t>Level</a:t>
            </a:r>
            <a:r>
              <a:rPr lang="sv-SE" dirty="0" smtClean="0"/>
              <a:t> </a:t>
            </a:r>
            <a:r>
              <a:rPr lang="sv-SE" dirty="0" err="1" smtClean="0"/>
              <a:t>conceptual</a:t>
            </a:r>
            <a:r>
              <a:rPr lang="sv-SE" dirty="0" smtClean="0"/>
              <a:t> </a:t>
            </a:r>
            <a:r>
              <a:rPr lang="sv-SE" dirty="0" err="1" smtClean="0"/>
              <a:t>Theory</a:t>
            </a:r>
            <a:r>
              <a:rPr lang="sv-SE" dirty="0" smtClean="0"/>
              <a:t> (MLT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5" t="31717" r="10666" b="27984"/>
          <a:stretch/>
        </p:blipFill>
        <p:spPr>
          <a:xfrm>
            <a:off x="160344" y="1552575"/>
            <a:ext cx="8622199" cy="2523573"/>
          </a:xfrm>
        </p:spPr>
      </p:pic>
      <p:sp>
        <p:nvSpPr>
          <p:cNvPr id="8" name="TextBox 7"/>
          <p:cNvSpPr txBox="1"/>
          <p:nvPr/>
        </p:nvSpPr>
        <p:spPr>
          <a:xfrm>
            <a:off x="1420240" y="6070059"/>
            <a:ext cx="71794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*</a:t>
            </a:r>
            <a:r>
              <a:rPr lang="en-US" dirty="0">
                <a:solidFill>
                  <a:schemeClr val="bg1"/>
                </a:solidFill>
              </a:rPr>
              <a:t>Toward a well-founded theory for multi-level conceptual modeling</a:t>
            </a:r>
            <a:r>
              <a:rPr lang="en-US" dirty="0" smtClean="0">
                <a:solidFill>
                  <a:schemeClr val="bg1"/>
                </a:solidFill>
              </a:rPr>
              <a:t>. 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V. </a:t>
            </a:r>
            <a:r>
              <a:rPr lang="pt-BR" dirty="0" smtClean="0">
                <a:solidFill>
                  <a:schemeClr val="bg1"/>
                </a:solidFill>
              </a:rPr>
              <a:t>Carvalho and J. Almeida</a:t>
            </a:r>
            <a:r>
              <a:rPr lang="sv-SE" dirty="0" smtClean="0">
                <a:solidFill>
                  <a:schemeClr val="bg1"/>
                </a:solidFill>
              </a:rPr>
              <a:t> in Software and Systems </a:t>
            </a:r>
            <a:r>
              <a:rPr lang="en-US" dirty="0" smtClean="0">
                <a:solidFill>
                  <a:schemeClr val="bg1"/>
                </a:solidFill>
              </a:rPr>
              <a:t>Modeling,</a:t>
            </a:r>
            <a:r>
              <a:rPr lang="sv-SE" dirty="0" smtClean="0">
                <a:solidFill>
                  <a:schemeClr val="bg1"/>
                </a:solidFill>
              </a:rPr>
              <a:t> 2016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20240" y="4363804"/>
            <a:ext cx="605218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i="1" dirty="0" err="1" smtClean="0">
                <a:latin typeface="Cambria" panose="02040503050406030204" pitchFamily="18" charset="0"/>
              </a:rPr>
              <a:t>hasAttribute</a:t>
            </a:r>
            <a:r>
              <a:rPr lang="sv-SE" i="1" dirty="0" smtClean="0">
                <a:latin typeface="Cambria" panose="02040503050406030204" pitchFamily="18" charset="0"/>
              </a:rPr>
              <a:t> (</a:t>
            </a:r>
            <a:r>
              <a:rPr lang="sv-SE" i="1" dirty="0" err="1" smtClean="0">
                <a:latin typeface="Cambria" panose="02040503050406030204" pitchFamily="18" charset="0"/>
              </a:rPr>
              <a:t>SecondOT</a:t>
            </a:r>
            <a:r>
              <a:rPr lang="sv-SE" i="1" dirty="0" smtClean="0">
                <a:latin typeface="Cambria" panose="02040503050406030204" pitchFamily="18" charset="0"/>
              </a:rPr>
              <a:t>, </a:t>
            </a:r>
            <a:r>
              <a:rPr lang="sv-SE" i="1" dirty="0" err="1" smtClean="0">
                <a:latin typeface="Cambria" panose="02040503050406030204" pitchFamily="18" charset="0"/>
              </a:rPr>
              <a:t>modeler</a:t>
            </a:r>
            <a:r>
              <a:rPr lang="sv-SE" i="1" dirty="0" smtClean="0">
                <a:latin typeface="Cambria" panose="02040503050406030204" pitchFamily="18" charset="0"/>
              </a:rPr>
              <a:t>, String)</a:t>
            </a:r>
          </a:p>
          <a:p>
            <a:r>
              <a:rPr lang="sv-SE" i="1" dirty="0" err="1" smtClean="0">
                <a:latin typeface="Cambria" panose="02040503050406030204" pitchFamily="18" charset="0"/>
              </a:rPr>
              <a:t>iof</a:t>
            </a:r>
            <a:r>
              <a:rPr lang="sv-SE" dirty="0" smtClean="0">
                <a:latin typeface="Cambria" panose="02040503050406030204" pitchFamily="18" charset="0"/>
              </a:rPr>
              <a:t> (</a:t>
            </a:r>
            <a:r>
              <a:rPr lang="sv-SE" dirty="0" err="1" smtClean="0">
                <a:latin typeface="Cambria" panose="02040503050406030204" pitchFamily="18" charset="0"/>
              </a:rPr>
              <a:t>ProductType</a:t>
            </a:r>
            <a:r>
              <a:rPr lang="sv-SE" dirty="0" smtClean="0">
                <a:latin typeface="Cambria" panose="02040503050406030204" pitchFamily="18" charset="0"/>
              </a:rPr>
              <a:t>, </a:t>
            </a:r>
            <a:r>
              <a:rPr lang="sv-SE" dirty="0" err="1" smtClean="0">
                <a:latin typeface="Cambria" panose="02040503050406030204" pitchFamily="18" charset="0"/>
              </a:rPr>
              <a:t>SecondOT</a:t>
            </a:r>
            <a:r>
              <a:rPr lang="sv-SE" dirty="0" smtClean="0">
                <a:latin typeface="Cambria" panose="02040503050406030204" pitchFamily="18" charset="0"/>
              </a:rPr>
              <a:t>)</a:t>
            </a:r>
          </a:p>
          <a:p>
            <a:r>
              <a:rPr lang="sv-SE" i="1" dirty="0" err="1" smtClean="0">
                <a:latin typeface="Cambria" panose="02040503050406030204" pitchFamily="18" charset="0"/>
              </a:rPr>
              <a:t>specialization</a:t>
            </a:r>
            <a:r>
              <a:rPr lang="sv-SE" dirty="0" smtClean="0">
                <a:latin typeface="Cambria" panose="02040503050406030204" pitchFamily="18" charset="0"/>
              </a:rPr>
              <a:t> (</a:t>
            </a:r>
            <a:r>
              <a:rPr lang="sv-SE" dirty="0" err="1" smtClean="0">
                <a:latin typeface="Cambria" panose="02040503050406030204" pitchFamily="18" charset="0"/>
              </a:rPr>
              <a:t>ProductType</a:t>
            </a:r>
            <a:r>
              <a:rPr lang="sv-SE" dirty="0" smtClean="0">
                <a:latin typeface="Cambria" panose="02040503050406030204" pitchFamily="18" charset="0"/>
              </a:rPr>
              <a:t>, </a:t>
            </a:r>
            <a:r>
              <a:rPr lang="sv-SE" dirty="0" err="1" smtClean="0">
                <a:latin typeface="Cambria" panose="02040503050406030204" pitchFamily="18" charset="0"/>
              </a:rPr>
              <a:t>FirstOT</a:t>
            </a:r>
            <a:r>
              <a:rPr lang="sv-SE" dirty="0" smtClean="0">
                <a:latin typeface="Cambria" panose="02040503050406030204" pitchFamily="18" charset="0"/>
              </a:rPr>
              <a:t>)</a:t>
            </a:r>
          </a:p>
          <a:p>
            <a:r>
              <a:rPr lang="sv-SE" i="1" dirty="0" err="1" smtClean="0">
                <a:latin typeface="Cambria" panose="02040503050406030204" pitchFamily="18" charset="0"/>
              </a:rPr>
              <a:t>hasAttribute</a:t>
            </a:r>
            <a:r>
              <a:rPr lang="sv-SE" dirty="0" smtClean="0">
                <a:latin typeface="Cambria" panose="02040503050406030204" pitchFamily="18" charset="0"/>
              </a:rPr>
              <a:t> (</a:t>
            </a:r>
            <a:r>
              <a:rPr lang="sv-SE" dirty="0" err="1" smtClean="0">
                <a:latin typeface="Cambria" panose="02040503050406030204" pitchFamily="18" charset="0"/>
              </a:rPr>
              <a:t>ProductType</a:t>
            </a:r>
            <a:r>
              <a:rPr lang="sv-SE" dirty="0" smtClean="0">
                <a:latin typeface="Cambria" panose="02040503050406030204" pitchFamily="18" charset="0"/>
              </a:rPr>
              <a:t>, </a:t>
            </a:r>
            <a:r>
              <a:rPr lang="sv-SE" dirty="0" err="1" smtClean="0">
                <a:latin typeface="Cambria" panose="02040503050406030204" pitchFamily="18" charset="0"/>
              </a:rPr>
              <a:t>enteredProduction</a:t>
            </a:r>
            <a:r>
              <a:rPr lang="sv-SE" dirty="0" smtClean="0">
                <a:latin typeface="Cambria" panose="02040503050406030204" pitchFamily="18" charset="0"/>
              </a:rPr>
              <a:t>, Date)</a:t>
            </a:r>
          </a:p>
          <a:p>
            <a:r>
              <a:rPr lang="sv-SE" i="1" dirty="0" err="1" smtClean="0">
                <a:latin typeface="Cambria" panose="02040503050406030204" pitchFamily="18" charset="0"/>
              </a:rPr>
              <a:t>isMandatoryAttribute</a:t>
            </a:r>
            <a:r>
              <a:rPr lang="sv-SE" dirty="0" smtClean="0">
                <a:latin typeface="Cambria" panose="02040503050406030204" pitchFamily="18" charset="0"/>
              </a:rPr>
              <a:t> (</a:t>
            </a:r>
            <a:r>
              <a:rPr lang="sv-SE" dirty="0" err="1" smtClean="0">
                <a:latin typeface="Cambria" panose="02040503050406030204" pitchFamily="18" charset="0"/>
              </a:rPr>
              <a:t>enteredProduction</a:t>
            </a:r>
            <a:r>
              <a:rPr lang="sv-SE" dirty="0" smtClean="0">
                <a:latin typeface="Cambria" panose="02040503050406030204" pitchFamily="18" charset="0"/>
              </a:rPr>
              <a:t>)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024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Using</a:t>
            </a:r>
            <a:r>
              <a:rPr lang="sv-SE" dirty="0"/>
              <a:t> Multi </a:t>
            </a:r>
            <a:r>
              <a:rPr lang="sv-SE" dirty="0" err="1"/>
              <a:t>Level</a:t>
            </a:r>
            <a:r>
              <a:rPr lang="sv-SE" dirty="0"/>
              <a:t> </a:t>
            </a:r>
            <a:r>
              <a:rPr lang="sv-SE" dirty="0" err="1"/>
              <a:t>conceptual</a:t>
            </a:r>
            <a:r>
              <a:rPr lang="sv-SE" dirty="0"/>
              <a:t> </a:t>
            </a:r>
            <a:r>
              <a:rPr lang="sv-SE" dirty="0" err="1"/>
              <a:t>Theory</a:t>
            </a:r>
            <a:r>
              <a:rPr lang="sv-SE" dirty="0"/>
              <a:t> (MLT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172399" y="4096690"/>
            <a:ext cx="531863" cy="365125"/>
          </a:xfrm>
        </p:spPr>
        <p:txBody>
          <a:bodyPr/>
          <a:lstStyle/>
          <a:p>
            <a:fld id="{680D72F4-1C41-4187-A4BC-492CF086CF40}" type="slidenum">
              <a:rPr lang="sv-SE" smtClean="0"/>
              <a:pPr/>
              <a:t>9</a:t>
            </a:fld>
            <a:endParaRPr lang="sv-SE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3" t="4295" r="563" b="11934"/>
          <a:stretch/>
        </p:blipFill>
        <p:spPr>
          <a:xfrm>
            <a:off x="325120" y="1160353"/>
            <a:ext cx="8611425" cy="4458127"/>
          </a:xfrm>
        </p:spPr>
      </p:pic>
      <p:sp>
        <p:nvSpPr>
          <p:cNvPr id="7" name="Rectangle 6"/>
          <p:cNvSpPr/>
          <p:nvPr/>
        </p:nvSpPr>
        <p:spPr>
          <a:xfrm>
            <a:off x="325120" y="2186305"/>
            <a:ext cx="2284730" cy="3533775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0" scaled="1"/>
            <a:tileRect/>
          </a:gra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Enterprise </a:t>
            </a:r>
            <a:r>
              <a:rPr lang="sv-SE" dirty="0" smtClean="0">
                <a:solidFill>
                  <a:schemeClr val="tx1"/>
                </a:solidFill>
              </a:rPr>
              <a:t>meta-</a:t>
            </a:r>
            <a:r>
              <a:rPr lang="sv-SE" dirty="0" err="1" smtClean="0">
                <a:solidFill>
                  <a:schemeClr val="tx1"/>
                </a:solidFill>
              </a:rPr>
              <a:t>model</a:t>
            </a: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753350" y="2186303"/>
            <a:ext cx="1190626" cy="3533775"/>
          </a:xfrm>
          <a:prstGeom prst="rect">
            <a:avLst/>
          </a:prstGeom>
          <a:solidFill>
            <a:srgbClr val="FFC000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dirty="0" smtClean="0">
                <a:solidFill>
                  <a:schemeClr val="tx1"/>
                </a:solidFill>
              </a:rPr>
              <a:t>Product Variants</a:t>
            </a: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L-Shape 9"/>
          <p:cNvSpPr/>
          <p:nvPr/>
        </p:nvSpPr>
        <p:spPr>
          <a:xfrm rot="5400000">
            <a:off x="3438525" y="1462406"/>
            <a:ext cx="3533774" cy="4981574"/>
          </a:xfrm>
          <a:prstGeom prst="corner">
            <a:avLst>
              <a:gd name="adj1" fmla="val 63008"/>
              <a:gd name="adj2" fmla="val 24111"/>
            </a:avLst>
          </a:prstGeom>
          <a:gradFill>
            <a:gsLst>
              <a:gs pos="50000">
                <a:srgbClr val="92D050"/>
              </a:gs>
              <a:gs pos="0">
                <a:srgbClr val="00B0F0"/>
              </a:gs>
              <a:gs pos="100000">
                <a:srgbClr val="FFC000"/>
              </a:gs>
            </a:gsLst>
          </a:gra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004815" y="3080512"/>
            <a:ext cx="2691384" cy="2639568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100000">
                <a:srgbClr val="FFC000"/>
              </a:gs>
            </a:gsLst>
            <a:lin ang="0" scaled="1"/>
            <a:tileRect/>
          </a:gra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chemeClr val="tx1"/>
                </a:solidFill>
              </a:rPr>
              <a:t>(Product Variants </a:t>
            </a:r>
            <a:r>
              <a:rPr lang="sv-SE" sz="1600" dirty="0" err="1" smtClean="0">
                <a:solidFill>
                  <a:schemeClr val="tx1"/>
                </a:solidFill>
              </a:rPr>
              <a:t>Model</a:t>
            </a:r>
            <a:r>
              <a:rPr lang="sv-SE" sz="1600" dirty="0" smtClean="0">
                <a:solidFill>
                  <a:schemeClr val="tx1"/>
                </a:solidFill>
              </a:rPr>
              <a:t>’’)</a:t>
            </a:r>
            <a:endParaRPr lang="sv-SE" sz="1600" dirty="0" smtClean="0">
              <a:solidFill>
                <a:schemeClr val="tx1"/>
              </a:solidFill>
            </a:endParaRPr>
          </a:p>
          <a:p>
            <a:pPr algn="ctr"/>
            <a:r>
              <a:rPr lang="sv-SE" sz="1600" dirty="0" err="1" smtClean="0">
                <a:solidFill>
                  <a:schemeClr val="tx1"/>
                </a:solidFill>
              </a:rPr>
              <a:t>Reusable</a:t>
            </a:r>
            <a:r>
              <a:rPr lang="sv-SE" sz="1600" dirty="0" smtClean="0">
                <a:solidFill>
                  <a:schemeClr val="tx1"/>
                </a:solidFill>
              </a:rPr>
              <a:t> </a:t>
            </a:r>
            <a:r>
              <a:rPr lang="sv-SE" sz="1600" dirty="0" smtClean="0">
                <a:solidFill>
                  <a:schemeClr val="tx1"/>
                </a:solidFill>
              </a:rPr>
              <a:t>Assets and </a:t>
            </a:r>
            <a:r>
              <a:rPr lang="sv-SE" sz="1600" dirty="0" err="1" smtClean="0">
                <a:solidFill>
                  <a:schemeClr val="tx1"/>
                </a:solidFill>
              </a:rPr>
              <a:t>other</a:t>
            </a:r>
            <a:r>
              <a:rPr lang="sv-SE" sz="1600" dirty="0" smtClean="0">
                <a:solidFill>
                  <a:schemeClr val="tx1"/>
                </a:solidFill>
              </a:rPr>
              <a:t> </a:t>
            </a:r>
            <a:r>
              <a:rPr lang="sv-SE" sz="1600" dirty="0" err="1" smtClean="0">
                <a:solidFill>
                  <a:schemeClr val="tx1"/>
                </a:solidFill>
              </a:rPr>
              <a:t>Artifacts</a:t>
            </a:r>
            <a:endParaRPr lang="sv-SE" sz="1600" dirty="0" smtClean="0">
              <a:solidFill>
                <a:schemeClr val="tx1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033520" y="2186306"/>
            <a:ext cx="0" cy="3533774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714625" y="3630024"/>
            <a:ext cx="12090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 smtClean="0"/>
              <a:t>PL </a:t>
            </a:r>
            <a:r>
              <a:rPr lang="sv-SE" dirty="0" err="1" smtClean="0"/>
              <a:t>concepts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4288847" y="2492104"/>
            <a:ext cx="34645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Product variants </a:t>
            </a:r>
            <a:r>
              <a:rPr lang="sv-SE" dirty="0" smtClean="0"/>
              <a:t>(meta-) </a:t>
            </a:r>
            <a:r>
              <a:rPr lang="sv-SE" dirty="0" err="1" smtClean="0"/>
              <a:t>model</a:t>
            </a:r>
            <a:r>
              <a:rPr lang="sv-SE" dirty="0" smtClean="0"/>
              <a:t>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88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4" grpId="0"/>
      <p:bldP spid="1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general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eneral</Template>
  <TotalTime>10018</TotalTime>
  <Words>1308</Words>
  <Application>Microsoft Office PowerPoint</Application>
  <PresentationFormat>On-screen Show (4:3)</PresentationFormat>
  <Paragraphs>211</Paragraphs>
  <Slides>18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KTH_PPT template 2014 general</vt:lpstr>
      <vt:lpstr>think-cell Slide</vt:lpstr>
      <vt:lpstr>Modeling Product-Line Legacy Assets using Multi-Level Theory</vt:lpstr>
      <vt:lpstr>Reverse Engineering in PL context</vt:lpstr>
      <vt:lpstr>Formalism for representing family models</vt:lpstr>
      <vt:lpstr>Formalism for representing family models</vt:lpstr>
      <vt:lpstr>Difficulties with traditional modeling</vt:lpstr>
      <vt:lpstr>Difficulties with traditional modeling</vt:lpstr>
      <vt:lpstr>Difficulties with traditional modeling</vt:lpstr>
      <vt:lpstr>Multi Level conceptual Theory (MLT)</vt:lpstr>
      <vt:lpstr>Using Multi Level conceptual Theory (MLT)</vt:lpstr>
      <vt:lpstr>Advantages of using Multi-Level Modeling</vt:lpstr>
      <vt:lpstr>Using Multi Level conceptual Theory (MLT)</vt:lpstr>
      <vt:lpstr>Interpreting Presence Conditions</vt:lpstr>
      <vt:lpstr>Interpreting Presence Conditions</vt:lpstr>
      <vt:lpstr>Interpreting Presence Conditions</vt:lpstr>
      <vt:lpstr>Expressing PLE concepts in MLT</vt:lpstr>
      <vt:lpstr>Positive aspects of MLT</vt:lpstr>
      <vt:lpstr>Conclusions</vt:lpstr>
      <vt:lpstr>Future Work</vt:lpstr>
    </vt:vector>
  </TitlesOfParts>
  <Company>Kungliga Tekniska Högskola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mir Nesic</dc:creator>
  <cp:lastModifiedBy>Damir Nesic</cp:lastModifiedBy>
  <cp:revision>133</cp:revision>
  <cp:lastPrinted>2013-05-27T09:10:21Z</cp:lastPrinted>
  <dcterms:created xsi:type="dcterms:W3CDTF">2017-09-13T07:27:26Z</dcterms:created>
  <dcterms:modified xsi:type="dcterms:W3CDTF">2017-09-25T21:04:33Z</dcterms:modified>
</cp:coreProperties>
</file>